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m4a" ContentType="audio/mp4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18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9.xml" ContentType="application/vnd.openxmlformats-officedocument.theme+xml"/>
  <Override PartName="/ppt/theme/theme17.xml" ContentType="application/vnd.openxmlformats-officedocument.theme+xml"/>
  <Override PartName="/ppt/theme/theme16.xml" ContentType="application/vnd.openxmlformats-officedocument.theme+xml"/>
  <Override PartName="/ppt/theme/theme15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27.xml" ContentType="application/vnd.openxmlformats-officedocument.presentationml.tags+xml"/>
  <Override PartName="/ppt/tags/tag38.xml" ContentType="application/vnd.openxmlformats-officedocument.presentationml.tags+xml"/>
  <Override PartName="/ppt/tags/tag26.xml" ContentType="application/vnd.openxmlformats-officedocument.presentationml.tags+xml"/>
  <Override PartName="/ppt/tags/tag30.xml" ContentType="application/vnd.openxmlformats-officedocument.presentationml.tags+xml"/>
  <Override PartName="/ppt/tags/tag39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5.xml" ContentType="application/vnd.openxmlformats-officedocument.presentationml.tags+xml"/>
  <Override PartName="/ppt/tags/tag40.xml" ContentType="application/vnd.openxmlformats-officedocument.presentationml.tags+xml"/>
  <Override PartName="/ppt/tags/tag35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5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7" r:id="rId1"/>
    <p:sldMasterId id="2147483743" r:id="rId2"/>
    <p:sldMasterId id="2147483667" r:id="rId3"/>
    <p:sldMasterId id="2147483675" r:id="rId4"/>
    <p:sldMasterId id="2147483760" r:id="rId5"/>
    <p:sldMasterId id="2147483769" r:id="rId6"/>
    <p:sldMasterId id="2147483779" r:id="rId7"/>
    <p:sldMasterId id="2147483789" r:id="rId8"/>
    <p:sldMasterId id="2147483799" r:id="rId9"/>
    <p:sldMasterId id="2147483809" r:id="rId10"/>
    <p:sldMasterId id="2147483818" r:id="rId11"/>
    <p:sldMasterId id="2147483828" r:id="rId12"/>
    <p:sldMasterId id="2147483837" r:id="rId13"/>
    <p:sldMasterId id="2147483846" r:id="rId14"/>
    <p:sldMasterId id="2147483850" r:id="rId15"/>
    <p:sldMasterId id="2147483859" r:id="rId16"/>
    <p:sldMasterId id="2147483868" r:id="rId17"/>
    <p:sldMasterId id="2147483877" r:id="rId18"/>
  </p:sldMasterIdLst>
  <p:notesMasterIdLst>
    <p:notesMasterId r:id="rId34"/>
  </p:notesMasterIdLst>
  <p:sldIdLst>
    <p:sldId id="1898" r:id="rId19"/>
    <p:sldId id="4011" r:id="rId20"/>
    <p:sldId id="4202" r:id="rId21"/>
    <p:sldId id="4207" r:id="rId22"/>
    <p:sldId id="4209" r:id="rId23"/>
    <p:sldId id="4198" r:id="rId24"/>
    <p:sldId id="4203" r:id="rId25"/>
    <p:sldId id="4206" r:id="rId26"/>
    <p:sldId id="4182" r:id="rId27"/>
    <p:sldId id="4204" r:id="rId28"/>
    <p:sldId id="4210" r:id="rId29"/>
    <p:sldId id="4192" r:id="rId30"/>
    <p:sldId id="4205" r:id="rId31"/>
    <p:sldId id="4211" r:id="rId32"/>
    <p:sldId id="4197" r:id="rId33"/>
  </p:sldIdLst>
  <p:sldSz cx="12192000" cy="6858000"/>
  <p:notesSz cx="9144000" cy="6858000"/>
  <p:custDataLst>
    <p:tags r:id="rId35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4D4E"/>
    <a:srgbClr val="F9423A"/>
    <a:srgbClr val="F5292D"/>
    <a:srgbClr val="00A7B5"/>
    <a:srgbClr val="64A70B"/>
    <a:srgbClr val="585A5C"/>
    <a:srgbClr val="178795"/>
    <a:srgbClr val="8587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5" autoAdjust="0"/>
    <p:restoredTop sz="86251" autoAdjust="0"/>
  </p:normalViewPr>
  <p:slideViewPr>
    <p:cSldViewPr snapToGrid="0" snapToObjects="1">
      <p:cViewPr varScale="1">
        <p:scale>
          <a:sx n="86" d="100"/>
          <a:sy n="86" d="100"/>
        </p:scale>
        <p:origin x="331" y="58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113" d="100"/>
          <a:sy n="113" d="100"/>
        </p:scale>
        <p:origin x="1668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9" Type="http://schemas.openxmlformats.org/officeDocument/2006/relationships/tableStyles" Target="tableStyles.xml"/><Relationship Id="rId21" Type="http://schemas.openxmlformats.org/officeDocument/2006/relationships/slide" Target="slides/slide3.xml"/><Relationship Id="rId34" Type="http://schemas.openxmlformats.org/officeDocument/2006/relationships/notesMaster" Target="notesMasters/notesMaster1.xml"/><Relationship Id="rId42" Type="http://schemas.openxmlformats.org/officeDocument/2006/relationships/customXml" Target="../customXml/item3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41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viewProps" Target="viewProps.xml"/><Relationship Id="rId40" Type="http://schemas.openxmlformats.org/officeDocument/2006/relationships/customXml" Target="../customXml/item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tags" Target="tags/tag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7680325" y="228600"/>
            <a:ext cx="1006475" cy="182563"/>
          </a:xfrm>
          <a:prstGeom prst="rect">
            <a:avLst/>
          </a:prstGeom>
        </p:spPr>
        <p:txBody>
          <a:bodyPr vert="horz" lIns="0" tIns="0" rIns="0" bIns="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5C5E2873-2267-424F-8A0C-43EEF41F26DF}" type="datetimeFigureOut">
              <a:rPr lang="en-US"/>
              <a:pPr>
                <a:defRPr/>
              </a:pPr>
              <a:t>6/22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45720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72000" y="457200"/>
            <a:ext cx="4114800" cy="59436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57200" y="6513513"/>
            <a:ext cx="6035675" cy="18256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dirty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8072438" y="6513513"/>
            <a:ext cx="614362" cy="18256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1468832-53CA-447D-A16F-81782479A72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57200" y="2771775"/>
            <a:ext cx="4114800" cy="362902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tx1"/>
                </a:solidFill>
              </a:rPr>
              <a:t>Notes to presenter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ts val="6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5125" indent="-182563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7688" indent="-182563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30250" indent="-182563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Jeff: everyone agrees we cannot do prevalence but we can trend over time;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8EFD73-98AA-4E57-9AA6-207B384071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7084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Jeff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68832-53CA-447D-A16F-81782479A720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4B4D4E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4B4D4E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9345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81000" y="1601788"/>
            <a:ext cx="11430000" cy="45259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4450166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2203703" y="5706396"/>
            <a:ext cx="9601200" cy="464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itle 32"/>
          <p:cNvSpPr>
            <a:spLocks noGrp="1"/>
          </p:cNvSpPr>
          <p:nvPr>
            <p:ph type="title"/>
          </p:nvPr>
        </p:nvSpPr>
        <p:spPr>
          <a:xfrm>
            <a:off x="2203703" y="4629714"/>
            <a:ext cx="9601200" cy="1076685"/>
          </a:xfrm>
          <a:prstGeom prst="rect">
            <a:avLst/>
          </a:prstGeom>
        </p:spPr>
        <p:txBody>
          <a:bodyPr vert="horz" anchor="b"/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338705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3186849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091988" y="0"/>
            <a:ext cx="128587" cy="145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8207106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81000" y="1601788"/>
            <a:ext cx="11430000" cy="4525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4878789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789884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F9D744F-A08B-5145-BBEA-D42E6BD319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" y="1533600"/>
            <a:ext cx="4430684" cy="44306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7215782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5868DF8-0066-C04C-B523-8450D0A451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533600"/>
            <a:ext cx="560134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D81E9A-BFAC-2649-8EA2-1E71B0607B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2174400"/>
            <a:ext cx="5601346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AB4DA10-386C-0E45-8192-A2D9EB1279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9322" y="1534150"/>
            <a:ext cx="5611678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BA2A10C-A80A-324D-B7BC-4A1C81054B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9322" y="2174950"/>
            <a:ext cx="5611678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51108072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381000" y="1533600"/>
            <a:ext cx="4590288" cy="4593600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02225608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 bwMode="ltGray">
          <a:xfrm>
            <a:off x="0" y="-9254"/>
            <a:ext cx="4672584" cy="6867254"/>
          </a:xfrm>
          <a:custGeom>
            <a:avLst/>
            <a:gdLst>
              <a:gd name="connsiteX0" fmla="*/ 0 w 8001000"/>
              <a:gd name="connsiteY0" fmla="*/ 4000500 h 8001000"/>
              <a:gd name="connsiteX1" fmla="*/ 4000500 w 8001000"/>
              <a:gd name="connsiteY1" fmla="*/ 0 h 8001000"/>
              <a:gd name="connsiteX2" fmla="*/ 8001000 w 8001000"/>
              <a:gd name="connsiteY2" fmla="*/ 4000500 h 8001000"/>
              <a:gd name="connsiteX3" fmla="*/ 4000500 w 8001000"/>
              <a:gd name="connsiteY3" fmla="*/ 8001000 h 8001000"/>
              <a:gd name="connsiteX4" fmla="*/ 0 w 8001000"/>
              <a:gd name="connsiteY4" fmla="*/ 4000500 h 8001000"/>
              <a:gd name="connsiteX0" fmla="*/ 0 w 8060683"/>
              <a:gd name="connsiteY0" fmla="*/ 4222799 h 8223299"/>
              <a:gd name="connsiteX1" fmla="*/ 4000500 w 8060683"/>
              <a:gd name="connsiteY1" fmla="*/ 222299 h 8223299"/>
              <a:gd name="connsiteX2" fmla="*/ 6237602 w 8060683"/>
              <a:gd name="connsiteY2" fmla="*/ 908099 h 8223299"/>
              <a:gd name="connsiteX3" fmla="*/ 8001000 w 8060683"/>
              <a:gd name="connsiteY3" fmla="*/ 4222799 h 8223299"/>
              <a:gd name="connsiteX4" fmla="*/ 4000500 w 8060683"/>
              <a:gd name="connsiteY4" fmla="*/ 8223299 h 8223299"/>
              <a:gd name="connsiteX5" fmla="*/ 0 w 8060683"/>
              <a:gd name="connsiteY5" fmla="*/ 4222799 h 8223299"/>
              <a:gd name="connsiteX0" fmla="*/ 8055 w 8068738"/>
              <a:gd name="connsiteY0" fmla="*/ 3760842 h 7761342"/>
              <a:gd name="connsiteX1" fmla="*/ 3296378 w 8068738"/>
              <a:gd name="connsiteY1" fmla="*/ 472519 h 7761342"/>
              <a:gd name="connsiteX2" fmla="*/ 6245657 w 8068738"/>
              <a:gd name="connsiteY2" fmla="*/ 446142 h 7761342"/>
              <a:gd name="connsiteX3" fmla="*/ 8009055 w 8068738"/>
              <a:gd name="connsiteY3" fmla="*/ 3760842 h 7761342"/>
              <a:gd name="connsiteX4" fmla="*/ 4008555 w 8068738"/>
              <a:gd name="connsiteY4" fmla="*/ 7761342 h 7761342"/>
              <a:gd name="connsiteX5" fmla="*/ 8055 w 8068738"/>
              <a:gd name="connsiteY5" fmla="*/ 3760842 h 7761342"/>
              <a:gd name="connsiteX0" fmla="*/ 6123 w 8066806"/>
              <a:gd name="connsiteY0" fmla="*/ 3768834 h 7769334"/>
              <a:gd name="connsiteX1" fmla="*/ 3373577 w 8066806"/>
              <a:gd name="connsiteY1" fmla="*/ 462926 h 7769334"/>
              <a:gd name="connsiteX2" fmla="*/ 6243725 w 8066806"/>
              <a:gd name="connsiteY2" fmla="*/ 454134 h 7769334"/>
              <a:gd name="connsiteX3" fmla="*/ 8007123 w 8066806"/>
              <a:gd name="connsiteY3" fmla="*/ 3768834 h 7769334"/>
              <a:gd name="connsiteX4" fmla="*/ 4006623 w 8066806"/>
              <a:gd name="connsiteY4" fmla="*/ 7769334 h 7769334"/>
              <a:gd name="connsiteX5" fmla="*/ 6123 w 8066806"/>
              <a:gd name="connsiteY5" fmla="*/ 3768834 h 7769334"/>
              <a:gd name="connsiteX0" fmla="*/ 6939 w 8067622"/>
              <a:gd name="connsiteY0" fmla="*/ 3768834 h 7769334"/>
              <a:gd name="connsiteX1" fmla="*/ 3339224 w 8067622"/>
              <a:gd name="connsiteY1" fmla="*/ 462926 h 7769334"/>
              <a:gd name="connsiteX2" fmla="*/ 6244541 w 8067622"/>
              <a:gd name="connsiteY2" fmla="*/ 454134 h 7769334"/>
              <a:gd name="connsiteX3" fmla="*/ 8007939 w 8067622"/>
              <a:gd name="connsiteY3" fmla="*/ 3768834 h 7769334"/>
              <a:gd name="connsiteX4" fmla="*/ 4007439 w 8067622"/>
              <a:gd name="connsiteY4" fmla="*/ 7769334 h 7769334"/>
              <a:gd name="connsiteX5" fmla="*/ 6939 w 8067622"/>
              <a:gd name="connsiteY5" fmla="*/ 3768834 h 7769334"/>
              <a:gd name="connsiteX0" fmla="*/ 6939 w 8010086"/>
              <a:gd name="connsiteY0" fmla="*/ 3768834 h 7984710"/>
              <a:gd name="connsiteX1" fmla="*/ 3339224 w 8010086"/>
              <a:gd name="connsiteY1" fmla="*/ 462926 h 7984710"/>
              <a:gd name="connsiteX2" fmla="*/ 6244541 w 8010086"/>
              <a:gd name="connsiteY2" fmla="*/ 454134 h 7984710"/>
              <a:gd name="connsiteX3" fmla="*/ 8007939 w 8010086"/>
              <a:gd name="connsiteY3" fmla="*/ 3768834 h 7984710"/>
              <a:gd name="connsiteX4" fmla="*/ 5892849 w 8010086"/>
              <a:gd name="connsiteY4" fmla="*/ 7057157 h 7984710"/>
              <a:gd name="connsiteX5" fmla="*/ 4007439 w 8010086"/>
              <a:gd name="connsiteY5" fmla="*/ 7769334 h 7984710"/>
              <a:gd name="connsiteX6" fmla="*/ 6939 w 8010086"/>
              <a:gd name="connsiteY6" fmla="*/ 3768834 h 7984710"/>
              <a:gd name="connsiteX0" fmla="*/ 6939 w 8010086"/>
              <a:gd name="connsiteY0" fmla="*/ 3768834 h 8061801"/>
              <a:gd name="connsiteX1" fmla="*/ 3339224 w 8010086"/>
              <a:gd name="connsiteY1" fmla="*/ 462926 h 8061801"/>
              <a:gd name="connsiteX2" fmla="*/ 6244541 w 8010086"/>
              <a:gd name="connsiteY2" fmla="*/ 454134 h 8061801"/>
              <a:gd name="connsiteX3" fmla="*/ 8007939 w 8010086"/>
              <a:gd name="connsiteY3" fmla="*/ 3768834 h 8061801"/>
              <a:gd name="connsiteX4" fmla="*/ 5892849 w 8010086"/>
              <a:gd name="connsiteY4" fmla="*/ 7312134 h 8061801"/>
              <a:gd name="connsiteX5" fmla="*/ 4007439 w 8010086"/>
              <a:gd name="connsiteY5" fmla="*/ 7769334 h 8061801"/>
              <a:gd name="connsiteX6" fmla="*/ 6939 w 8010086"/>
              <a:gd name="connsiteY6" fmla="*/ 3768834 h 8061801"/>
              <a:gd name="connsiteX0" fmla="*/ 6 w 8003153"/>
              <a:gd name="connsiteY0" fmla="*/ 3768834 h 7779879"/>
              <a:gd name="connsiteX1" fmla="*/ 3332291 w 8003153"/>
              <a:gd name="connsiteY1" fmla="*/ 462926 h 7779879"/>
              <a:gd name="connsiteX2" fmla="*/ 6237608 w 8003153"/>
              <a:gd name="connsiteY2" fmla="*/ 454134 h 7779879"/>
              <a:gd name="connsiteX3" fmla="*/ 8001006 w 8003153"/>
              <a:gd name="connsiteY3" fmla="*/ 3768834 h 7779879"/>
              <a:gd name="connsiteX4" fmla="*/ 5885916 w 8003153"/>
              <a:gd name="connsiteY4" fmla="*/ 7312134 h 7779879"/>
              <a:gd name="connsiteX5" fmla="*/ 3349875 w 8003153"/>
              <a:gd name="connsiteY5" fmla="*/ 7303342 h 7779879"/>
              <a:gd name="connsiteX6" fmla="*/ 6 w 8003153"/>
              <a:gd name="connsiteY6" fmla="*/ 3768834 h 7779879"/>
              <a:gd name="connsiteX0" fmla="*/ 3 w 8003150"/>
              <a:gd name="connsiteY0" fmla="*/ 3768834 h 7775751"/>
              <a:gd name="connsiteX1" fmla="*/ 3332288 w 8003150"/>
              <a:gd name="connsiteY1" fmla="*/ 462926 h 7775751"/>
              <a:gd name="connsiteX2" fmla="*/ 6237605 w 8003150"/>
              <a:gd name="connsiteY2" fmla="*/ 454134 h 7775751"/>
              <a:gd name="connsiteX3" fmla="*/ 8001003 w 8003150"/>
              <a:gd name="connsiteY3" fmla="*/ 3768834 h 7775751"/>
              <a:gd name="connsiteX4" fmla="*/ 5885913 w 8003150"/>
              <a:gd name="connsiteY4" fmla="*/ 7312134 h 7775751"/>
              <a:gd name="connsiteX5" fmla="*/ 3314702 w 8003150"/>
              <a:gd name="connsiteY5" fmla="*/ 7294550 h 7775751"/>
              <a:gd name="connsiteX6" fmla="*/ 3 w 8003150"/>
              <a:gd name="connsiteY6" fmla="*/ 3768834 h 77757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35777 h 7832403"/>
              <a:gd name="connsiteX1" fmla="*/ 664079 w 5334941"/>
              <a:gd name="connsiteY1" fmla="*/ 304153 h 7832403"/>
              <a:gd name="connsiteX2" fmla="*/ 3569396 w 5334941"/>
              <a:gd name="connsiteY2" fmla="*/ 295361 h 7832403"/>
              <a:gd name="connsiteX3" fmla="*/ 5332794 w 5334941"/>
              <a:gd name="connsiteY3" fmla="*/ 3610061 h 7832403"/>
              <a:gd name="connsiteX4" fmla="*/ 3217704 w 5334941"/>
              <a:gd name="connsiteY4" fmla="*/ 7153361 h 7832403"/>
              <a:gd name="connsiteX5" fmla="*/ 646493 w 5334941"/>
              <a:gd name="connsiteY5" fmla="*/ 7135777 h 7832403"/>
              <a:gd name="connsiteX0" fmla="*/ 182720 w 4871168"/>
              <a:gd name="connsiteY0" fmla="*/ 7135777 h 7832403"/>
              <a:gd name="connsiteX1" fmla="*/ 200306 w 4871168"/>
              <a:gd name="connsiteY1" fmla="*/ 304153 h 7832403"/>
              <a:gd name="connsiteX2" fmla="*/ 3105623 w 4871168"/>
              <a:gd name="connsiteY2" fmla="*/ 295361 h 7832403"/>
              <a:gd name="connsiteX3" fmla="*/ 4869021 w 4871168"/>
              <a:gd name="connsiteY3" fmla="*/ 3610061 h 7832403"/>
              <a:gd name="connsiteX4" fmla="*/ 2753931 w 4871168"/>
              <a:gd name="connsiteY4" fmla="*/ 7153361 h 7832403"/>
              <a:gd name="connsiteX5" fmla="*/ 182720 w 4871168"/>
              <a:gd name="connsiteY5" fmla="*/ 7135777 h 7832403"/>
              <a:gd name="connsiteX0" fmla="*/ 182720 w 4871168"/>
              <a:gd name="connsiteY0" fmla="*/ 7124471 h 7821097"/>
              <a:gd name="connsiteX1" fmla="*/ 200306 w 4871168"/>
              <a:gd name="connsiteY1" fmla="*/ 292847 h 7821097"/>
              <a:gd name="connsiteX2" fmla="*/ 3105623 w 4871168"/>
              <a:gd name="connsiteY2" fmla="*/ 284055 h 7821097"/>
              <a:gd name="connsiteX3" fmla="*/ 4869021 w 4871168"/>
              <a:gd name="connsiteY3" fmla="*/ 3598755 h 7821097"/>
              <a:gd name="connsiteX4" fmla="*/ 2753931 w 4871168"/>
              <a:gd name="connsiteY4" fmla="*/ 7142055 h 7821097"/>
              <a:gd name="connsiteX5" fmla="*/ 182720 w 4871168"/>
              <a:gd name="connsiteY5" fmla="*/ 7124471 h 7821097"/>
              <a:gd name="connsiteX0" fmla="*/ 182720 w 4871168"/>
              <a:gd name="connsiteY0" fmla="*/ 7133321 h 7829947"/>
              <a:gd name="connsiteX1" fmla="*/ 200306 w 4871168"/>
              <a:gd name="connsiteY1" fmla="*/ 301697 h 7829947"/>
              <a:gd name="connsiteX2" fmla="*/ 3105623 w 4871168"/>
              <a:gd name="connsiteY2" fmla="*/ 292905 h 7829947"/>
              <a:gd name="connsiteX3" fmla="*/ 4869021 w 4871168"/>
              <a:gd name="connsiteY3" fmla="*/ 3607605 h 7829947"/>
              <a:gd name="connsiteX4" fmla="*/ 2753931 w 4871168"/>
              <a:gd name="connsiteY4" fmla="*/ 7150905 h 7829947"/>
              <a:gd name="connsiteX5" fmla="*/ 182720 w 4871168"/>
              <a:gd name="connsiteY5" fmla="*/ 7133321 h 7829947"/>
              <a:gd name="connsiteX0" fmla="*/ 186720 w 4875168"/>
              <a:gd name="connsiteY0" fmla="*/ 7137599 h 7835370"/>
              <a:gd name="connsiteX1" fmla="*/ 191837 w 4875168"/>
              <a:gd name="connsiteY1" fmla="*/ 289350 h 7835370"/>
              <a:gd name="connsiteX2" fmla="*/ 3109623 w 4875168"/>
              <a:gd name="connsiteY2" fmla="*/ 297183 h 7835370"/>
              <a:gd name="connsiteX3" fmla="*/ 4873021 w 4875168"/>
              <a:gd name="connsiteY3" fmla="*/ 3611883 h 7835370"/>
              <a:gd name="connsiteX4" fmla="*/ 2757931 w 4875168"/>
              <a:gd name="connsiteY4" fmla="*/ 7155183 h 7835370"/>
              <a:gd name="connsiteX5" fmla="*/ 186720 w 4875168"/>
              <a:gd name="connsiteY5" fmla="*/ 7137599 h 7835370"/>
              <a:gd name="connsiteX0" fmla="*/ 171307 w 4859755"/>
              <a:gd name="connsiteY0" fmla="*/ 7112714 h 7803338"/>
              <a:gd name="connsiteX1" fmla="*/ 226300 w 4859755"/>
              <a:gd name="connsiteY1" fmla="*/ 368374 h 7803338"/>
              <a:gd name="connsiteX2" fmla="*/ 3094210 w 4859755"/>
              <a:gd name="connsiteY2" fmla="*/ 272298 h 7803338"/>
              <a:gd name="connsiteX3" fmla="*/ 4857608 w 4859755"/>
              <a:gd name="connsiteY3" fmla="*/ 3586998 h 7803338"/>
              <a:gd name="connsiteX4" fmla="*/ 2742518 w 4859755"/>
              <a:gd name="connsiteY4" fmla="*/ 7130298 h 7803338"/>
              <a:gd name="connsiteX5" fmla="*/ 171307 w 4859755"/>
              <a:gd name="connsiteY5" fmla="*/ 7112714 h 7803338"/>
              <a:gd name="connsiteX0" fmla="*/ 184041 w 4872489"/>
              <a:gd name="connsiteY0" fmla="*/ 7134379 h 7831291"/>
              <a:gd name="connsiteX1" fmla="*/ 197470 w 4872489"/>
              <a:gd name="connsiteY1" fmla="*/ 298599 h 7831291"/>
              <a:gd name="connsiteX2" fmla="*/ 3106944 w 4872489"/>
              <a:gd name="connsiteY2" fmla="*/ 293963 h 7831291"/>
              <a:gd name="connsiteX3" fmla="*/ 4870342 w 4872489"/>
              <a:gd name="connsiteY3" fmla="*/ 3608663 h 7831291"/>
              <a:gd name="connsiteX4" fmla="*/ 2755252 w 4872489"/>
              <a:gd name="connsiteY4" fmla="*/ 7151963 h 7831291"/>
              <a:gd name="connsiteX5" fmla="*/ 184041 w 4872489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9716 w 4868927"/>
              <a:gd name="connsiteY0" fmla="*/ 7152851 h 7842196"/>
              <a:gd name="connsiteX1" fmla="*/ 193908 w 4868927"/>
              <a:gd name="connsiteY1" fmla="*/ 298599 h 7842196"/>
              <a:gd name="connsiteX2" fmla="*/ 3103382 w 4868927"/>
              <a:gd name="connsiteY2" fmla="*/ 293963 h 7842196"/>
              <a:gd name="connsiteX3" fmla="*/ 4866780 w 4868927"/>
              <a:gd name="connsiteY3" fmla="*/ 3608663 h 7842196"/>
              <a:gd name="connsiteX4" fmla="*/ 2751690 w 4868927"/>
              <a:gd name="connsiteY4" fmla="*/ 7151963 h 7842196"/>
              <a:gd name="connsiteX5" fmla="*/ 189716 w 4868927"/>
              <a:gd name="connsiteY5" fmla="*/ 7152851 h 7842196"/>
              <a:gd name="connsiteX0" fmla="*/ 2 w 4679213"/>
              <a:gd name="connsiteY0" fmla="*/ 7152851 h 7447842"/>
              <a:gd name="connsiteX1" fmla="*/ 4194 w 4679213"/>
              <a:gd name="connsiteY1" fmla="*/ 298599 h 7447842"/>
              <a:gd name="connsiteX2" fmla="*/ 2913668 w 4679213"/>
              <a:gd name="connsiteY2" fmla="*/ 293963 h 7447842"/>
              <a:gd name="connsiteX3" fmla="*/ 4677066 w 4679213"/>
              <a:gd name="connsiteY3" fmla="*/ 3608663 h 7447842"/>
              <a:gd name="connsiteX4" fmla="*/ 2561976 w 4679213"/>
              <a:gd name="connsiteY4" fmla="*/ 7151963 h 7447842"/>
              <a:gd name="connsiteX5" fmla="*/ 2 w 4679213"/>
              <a:gd name="connsiteY5" fmla="*/ 7152851 h 7447842"/>
              <a:gd name="connsiteX0" fmla="*/ 232986 w 4675130"/>
              <a:gd name="connsiteY0" fmla="*/ 7082039 h 7430577"/>
              <a:gd name="connsiteX1" fmla="*/ 111 w 4675130"/>
              <a:gd name="connsiteY1" fmla="*/ 298599 h 7430577"/>
              <a:gd name="connsiteX2" fmla="*/ 2909585 w 4675130"/>
              <a:gd name="connsiteY2" fmla="*/ 293963 h 7430577"/>
              <a:gd name="connsiteX3" fmla="*/ 4672983 w 4675130"/>
              <a:gd name="connsiteY3" fmla="*/ 3608663 h 7430577"/>
              <a:gd name="connsiteX4" fmla="*/ 2557893 w 4675130"/>
              <a:gd name="connsiteY4" fmla="*/ 7151963 h 7430577"/>
              <a:gd name="connsiteX5" fmla="*/ 232986 w 4675130"/>
              <a:gd name="connsiteY5" fmla="*/ 7082039 h 7430577"/>
              <a:gd name="connsiteX0" fmla="*/ 1481 w 4677613"/>
              <a:gd name="connsiteY0" fmla="*/ 7149773 h 7447048"/>
              <a:gd name="connsiteX1" fmla="*/ 2594 w 4677613"/>
              <a:gd name="connsiteY1" fmla="*/ 298599 h 7447048"/>
              <a:gd name="connsiteX2" fmla="*/ 2912068 w 4677613"/>
              <a:gd name="connsiteY2" fmla="*/ 293963 h 7447048"/>
              <a:gd name="connsiteX3" fmla="*/ 4675466 w 4677613"/>
              <a:gd name="connsiteY3" fmla="*/ 3608663 h 7447048"/>
              <a:gd name="connsiteX4" fmla="*/ 2560376 w 4677613"/>
              <a:gd name="connsiteY4" fmla="*/ 7151963 h 7447048"/>
              <a:gd name="connsiteX5" fmla="*/ 1481 w 4677613"/>
              <a:gd name="connsiteY5" fmla="*/ 7149773 h 7447048"/>
              <a:gd name="connsiteX0" fmla="*/ 165734 w 4841866"/>
              <a:gd name="connsiteY0" fmla="*/ 7139154 h 7826771"/>
              <a:gd name="connsiteX1" fmla="*/ 246896 w 4841866"/>
              <a:gd name="connsiteY1" fmla="*/ 331083 h 7826771"/>
              <a:gd name="connsiteX2" fmla="*/ 3076321 w 4841866"/>
              <a:gd name="connsiteY2" fmla="*/ 283344 h 7826771"/>
              <a:gd name="connsiteX3" fmla="*/ 4839719 w 4841866"/>
              <a:gd name="connsiteY3" fmla="*/ 3598044 h 7826771"/>
              <a:gd name="connsiteX4" fmla="*/ 2724629 w 4841866"/>
              <a:gd name="connsiteY4" fmla="*/ 7141344 h 7826771"/>
              <a:gd name="connsiteX5" fmla="*/ 165734 w 4841866"/>
              <a:gd name="connsiteY5" fmla="*/ 7139154 h 7826771"/>
              <a:gd name="connsiteX0" fmla="*/ 192597 w 4868729"/>
              <a:gd name="connsiteY0" fmla="*/ 7111990 h 7790893"/>
              <a:gd name="connsiteX1" fmla="*/ 187553 w 4868729"/>
              <a:gd name="connsiteY1" fmla="*/ 430149 h 7790893"/>
              <a:gd name="connsiteX2" fmla="*/ 3103184 w 4868729"/>
              <a:gd name="connsiteY2" fmla="*/ 256180 h 7790893"/>
              <a:gd name="connsiteX3" fmla="*/ 4866582 w 4868729"/>
              <a:gd name="connsiteY3" fmla="*/ 3570880 h 7790893"/>
              <a:gd name="connsiteX4" fmla="*/ 2751492 w 4868729"/>
              <a:gd name="connsiteY4" fmla="*/ 7114180 h 7790893"/>
              <a:gd name="connsiteX5" fmla="*/ 192597 w 4868729"/>
              <a:gd name="connsiteY5" fmla="*/ 7111990 h 7790893"/>
              <a:gd name="connsiteX0" fmla="*/ 135176 w 4811308"/>
              <a:gd name="connsiteY0" fmla="*/ 7105556 h 7782125"/>
              <a:gd name="connsiteX1" fmla="*/ 336411 w 4811308"/>
              <a:gd name="connsiteY1" fmla="*/ 457582 h 7782125"/>
              <a:gd name="connsiteX2" fmla="*/ 3045763 w 4811308"/>
              <a:gd name="connsiteY2" fmla="*/ 249746 h 7782125"/>
              <a:gd name="connsiteX3" fmla="*/ 4809161 w 4811308"/>
              <a:gd name="connsiteY3" fmla="*/ 3564446 h 7782125"/>
              <a:gd name="connsiteX4" fmla="*/ 2694071 w 4811308"/>
              <a:gd name="connsiteY4" fmla="*/ 7107746 h 7782125"/>
              <a:gd name="connsiteX5" fmla="*/ 135176 w 4811308"/>
              <a:gd name="connsiteY5" fmla="*/ 7105556 h 7782125"/>
              <a:gd name="connsiteX0" fmla="*/ 157213 w 4833345"/>
              <a:gd name="connsiteY0" fmla="*/ 7115639 h 7795816"/>
              <a:gd name="connsiteX1" fmla="*/ 269163 w 4833345"/>
              <a:gd name="connsiteY1" fmla="*/ 415325 h 7795816"/>
              <a:gd name="connsiteX2" fmla="*/ 3067800 w 4833345"/>
              <a:gd name="connsiteY2" fmla="*/ 259829 h 7795816"/>
              <a:gd name="connsiteX3" fmla="*/ 4831198 w 4833345"/>
              <a:gd name="connsiteY3" fmla="*/ 3574529 h 7795816"/>
              <a:gd name="connsiteX4" fmla="*/ 2716108 w 4833345"/>
              <a:gd name="connsiteY4" fmla="*/ 7117829 h 7795816"/>
              <a:gd name="connsiteX5" fmla="*/ 157213 w 4833345"/>
              <a:gd name="connsiteY5" fmla="*/ 7115639 h 7795816"/>
              <a:gd name="connsiteX0" fmla="*/ 156353 w 4832485"/>
              <a:gd name="connsiteY0" fmla="*/ 7115639 h 7795816"/>
              <a:gd name="connsiteX1" fmla="*/ 268303 w 4832485"/>
              <a:gd name="connsiteY1" fmla="*/ 415325 h 7795816"/>
              <a:gd name="connsiteX2" fmla="*/ 3066940 w 4832485"/>
              <a:gd name="connsiteY2" fmla="*/ 259829 h 7795816"/>
              <a:gd name="connsiteX3" fmla="*/ 4830338 w 4832485"/>
              <a:gd name="connsiteY3" fmla="*/ 3574529 h 7795816"/>
              <a:gd name="connsiteX4" fmla="*/ 2715248 w 4832485"/>
              <a:gd name="connsiteY4" fmla="*/ 7117829 h 7795816"/>
              <a:gd name="connsiteX5" fmla="*/ 156353 w 4832485"/>
              <a:gd name="connsiteY5" fmla="*/ 7115639 h 7795816"/>
              <a:gd name="connsiteX0" fmla="*/ 162218 w 4838350"/>
              <a:gd name="connsiteY0" fmla="*/ 7153758 h 7845421"/>
              <a:gd name="connsiteX1" fmla="*/ 252617 w 4838350"/>
              <a:gd name="connsiteY1" fmla="*/ 287189 h 7845421"/>
              <a:gd name="connsiteX2" fmla="*/ 3072805 w 4838350"/>
              <a:gd name="connsiteY2" fmla="*/ 297948 h 7845421"/>
              <a:gd name="connsiteX3" fmla="*/ 4836203 w 4838350"/>
              <a:gd name="connsiteY3" fmla="*/ 3612648 h 7845421"/>
              <a:gd name="connsiteX4" fmla="*/ 2721113 w 4838350"/>
              <a:gd name="connsiteY4" fmla="*/ 7155948 h 7845421"/>
              <a:gd name="connsiteX5" fmla="*/ 162218 w 4838350"/>
              <a:gd name="connsiteY5" fmla="*/ 7153758 h 7845421"/>
              <a:gd name="connsiteX0" fmla="*/ 162218 w 4838350"/>
              <a:gd name="connsiteY0" fmla="*/ 7127231 h 7811232"/>
              <a:gd name="connsiteX1" fmla="*/ 252617 w 4838350"/>
              <a:gd name="connsiteY1" fmla="*/ 371498 h 7811232"/>
              <a:gd name="connsiteX2" fmla="*/ 3072805 w 4838350"/>
              <a:gd name="connsiteY2" fmla="*/ 271421 h 7811232"/>
              <a:gd name="connsiteX3" fmla="*/ 4836203 w 4838350"/>
              <a:gd name="connsiteY3" fmla="*/ 3586121 h 7811232"/>
              <a:gd name="connsiteX4" fmla="*/ 2721113 w 4838350"/>
              <a:gd name="connsiteY4" fmla="*/ 7129421 h 7811232"/>
              <a:gd name="connsiteX5" fmla="*/ 162218 w 4838350"/>
              <a:gd name="connsiteY5" fmla="*/ 7127231 h 7811232"/>
              <a:gd name="connsiteX0" fmla="*/ 169100 w 4845232"/>
              <a:gd name="connsiteY0" fmla="*/ 7127237 h 7811238"/>
              <a:gd name="connsiteX1" fmla="*/ 259499 w 4845232"/>
              <a:gd name="connsiteY1" fmla="*/ 371504 h 7811238"/>
              <a:gd name="connsiteX2" fmla="*/ 3079687 w 4845232"/>
              <a:gd name="connsiteY2" fmla="*/ 271427 h 7811238"/>
              <a:gd name="connsiteX3" fmla="*/ 4843085 w 4845232"/>
              <a:gd name="connsiteY3" fmla="*/ 3586127 h 7811238"/>
              <a:gd name="connsiteX4" fmla="*/ 2727995 w 4845232"/>
              <a:gd name="connsiteY4" fmla="*/ 7129427 h 7811238"/>
              <a:gd name="connsiteX5" fmla="*/ 169100 w 4845232"/>
              <a:gd name="connsiteY5" fmla="*/ 7127237 h 7811238"/>
              <a:gd name="connsiteX0" fmla="*/ 219843 w 4895975"/>
              <a:gd name="connsiteY0" fmla="*/ 7118137 h 7799163"/>
              <a:gd name="connsiteX1" fmla="*/ 162460 w 4895975"/>
              <a:gd name="connsiteY1" fmla="*/ 405507 h 7799163"/>
              <a:gd name="connsiteX2" fmla="*/ 3130430 w 4895975"/>
              <a:gd name="connsiteY2" fmla="*/ 262327 h 7799163"/>
              <a:gd name="connsiteX3" fmla="*/ 4893828 w 4895975"/>
              <a:gd name="connsiteY3" fmla="*/ 3577027 h 7799163"/>
              <a:gd name="connsiteX4" fmla="*/ 2778738 w 4895975"/>
              <a:gd name="connsiteY4" fmla="*/ 7120327 h 7799163"/>
              <a:gd name="connsiteX5" fmla="*/ 219843 w 4895975"/>
              <a:gd name="connsiteY5" fmla="*/ 7118137 h 7799163"/>
              <a:gd name="connsiteX0" fmla="*/ 202277 w 4878409"/>
              <a:gd name="connsiteY0" fmla="*/ 7113808 h 7793348"/>
              <a:gd name="connsiteX1" fmla="*/ 191076 w 4878409"/>
              <a:gd name="connsiteY1" fmla="*/ 422730 h 7793348"/>
              <a:gd name="connsiteX2" fmla="*/ 3112864 w 4878409"/>
              <a:gd name="connsiteY2" fmla="*/ 257998 h 7793348"/>
              <a:gd name="connsiteX3" fmla="*/ 4876262 w 4878409"/>
              <a:gd name="connsiteY3" fmla="*/ 3572698 h 7793348"/>
              <a:gd name="connsiteX4" fmla="*/ 2761172 w 4878409"/>
              <a:gd name="connsiteY4" fmla="*/ 7115998 h 7793348"/>
              <a:gd name="connsiteX5" fmla="*/ 202277 w 4878409"/>
              <a:gd name="connsiteY5" fmla="*/ 7113808 h 7793348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85583 w 4761715"/>
              <a:gd name="connsiteY0" fmla="*/ 7107672 h 7785019"/>
              <a:gd name="connsiteX1" fmla="*/ 82333 w 4761715"/>
              <a:gd name="connsiteY1" fmla="*/ 448399 h 7785019"/>
              <a:gd name="connsiteX2" fmla="*/ 2996170 w 4761715"/>
              <a:gd name="connsiteY2" fmla="*/ 251862 h 7785019"/>
              <a:gd name="connsiteX3" fmla="*/ 4759568 w 4761715"/>
              <a:gd name="connsiteY3" fmla="*/ 3566562 h 7785019"/>
              <a:gd name="connsiteX4" fmla="*/ 2644478 w 4761715"/>
              <a:gd name="connsiteY4" fmla="*/ 7109862 h 7785019"/>
              <a:gd name="connsiteX5" fmla="*/ 85583 w 4761715"/>
              <a:gd name="connsiteY5" fmla="*/ 7107672 h 7785019"/>
              <a:gd name="connsiteX0" fmla="*/ 85583 w 4761715"/>
              <a:gd name="connsiteY0" fmla="*/ 7074631 h 7751978"/>
              <a:gd name="connsiteX1" fmla="*/ 82333 w 4761715"/>
              <a:gd name="connsiteY1" fmla="*/ 415358 h 7751978"/>
              <a:gd name="connsiteX2" fmla="*/ 2996170 w 4761715"/>
              <a:gd name="connsiteY2" fmla="*/ 218821 h 7751978"/>
              <a:gd name="connsiteX3" fmla="*/ 4759568 w 4761715"/>
              <a:gd name="connsiteY3" fmla="*/ 3533521 h 7751978"/>
              <a:gd name="connsiteX4" fmla="*/ 2644478 w 4761715"/>
              <a:gd name="connsiteY4" fmla="*/ 7076821 h 7751978"/>
              <a:gd name="connsiteX5" fmla="*/ 85583 w 4761715"/>
              <a:gd name="connsiteY5" fmla="*/ 7074631 h 7751978"/>
              <a:gd name="connsiteX0" fmla="*/ 157610 w 4833742"/>
              <a:gd name="connsiteY0" fmla="*/ 7074631 h 7751978"/>
              <a:gd name="connsiteX1" fmla="*/ 154360 w 4833742"/>
              <a:gd name="connsiteY1" fmla="*/ 415358 h 7751978"/>
              <a:gd name="connsiteX2" fmla="*/ 3068197 w 4833742"/>
              <a:gd name="connsiteY2" fmla="*/ 218821 h 7751978"/>
              <a:gd name="connsiteX3" fmla="*/ 4831595 w 4833742"/>
              <a:gd name="connsiteY3" fmla="*/ 3533521 h 7751978"/>
              <a:gd name="connsiteX4" fmla="*/ 2716505 w 4833742"/>
              <a:gd name="connsiteY4" fmla="*/ 7076821 h 7751978"/>
              <a:gd name="connsiteX5" fmla="*/ 157610 w 4833742"/>
              <a:gd name="connsiteY5" fmla="*/ 7074631 h 7751978"/>
              <a:gd name="connsiteX0" fmla="*/ 345911 w 5022043"/>
              <a:gd name="connsiteY0" fmla="*/ 7098958 h 7776305"/>
              <a:gd name="connsiteX1" fmla="*/ 342661 w 5022043"/>
              <a:gd name="connsiteY1" fmla="*/ 439685 h 7776305"/>
              <a:gd name="connsiteX2" fmla="*/ 3256498 w 5022043"/>
              <a:gd name="connsiteY2" fmla="*/ 243148 h 7776305"/>
              <a:gd name="connsiteX3" fmla="*/ 5019896 w 5022043"/>
              <a:gd name="connsiteY3" fmla="*/ 3557848 h 7776305"/>
              <a:gd name="connsiteX4" fmla="*/ 2904806 w 5022043"/>
              <a:gd name="connsiteY4" fmla="*/ 7101148 h 7776305"/>
              <a:gd name="connsiteX5" fmla="*/ 345911 w 5022043"/>
              <a:gd name="connsiteY5" fmla="*/ 7098958 h 7776305"/>
              <a:gd name="connsiteX0" fmla="*/ 190117 w 4866249"/>
              <a:gd name="connsiteY0" fmla="*/ 7193225 h 7870572"/>
              <a:gd name="connsiteX1" fmla="*/ 186867 w 4866249"/>
              <a:gd name="connsiteY1" fmla="*/ 533952 h 7870572"/>
              <a:gd name="connsiteX2" fmla="*/ 3100704 w 4866249"/>
              <a:gd name="connsiteY2" fmla="*/ 337415 h 7870572"/>
              <a:gd name="connsiteX3" fmla="*/ 4864102 w 4866249"/>
              <a:gd name="connsiteY3" fmla="*/ 3652115 h 7870572"/>
              <a:gd name="connsiteX4" fmla="*/ 2749012 w 4866249"/>
              <a:gd name="connsiteY4" fmla="*/ 7195415 h 7870572"/>
              <a:gd name="connsiteX5" fmla="*/ 190117 w 4866249"/>
              <a:gd name="connsiteY5" fmla="*/ 7193225 h 7870572"/>
              <a:gd name="connsiteX0" fmla="*/ 188894 w 4865026"/>
              <a:gd name="connsiteY0" fmla="*/ 7274677 h 7967496"/>
              <a:gd name="connsiteX1" fmla="*/ 189317 w 4865026"/>
              <a:gd name="connsiteY1" fmla="*/ 391394 h 7967496"/>
              <a:gd name="connsiteX2" fmla="*/ 3099481 w 4865026"/>
              <a:gd name="connsiteY2" fmla="*/ 418867 h 7967496"/>
              <a:gd name="connsiteX3" fmla="*/ 4862879 w 4865026"/>
              <a:gd name="connsiteY3" fmla="*/ 3733567 h 7967496"/>
              <a:gd name="connsiteX4" fmla="*/ 2747789 w 4865026"/>
              <a:gd name="connsiteY4" fmla="*/ 7276867 h 7967496"/>
              <a:gd name="connsiteX5" fmla="*/ 188894 w 4865026"/>
              <a:gd name="connsiteY5" fmla="*/ 7274677 h 7967496"/>
              <a:gd name="connsiteX0" fmla="*/ 192591 w 4868723"/>
              <a:gd name="connsiteY0" fmla="*/ 7277850 h 7971178"/>
              <a:gd name="connsiteX1" fmla="*/ 181997 w 4868723"/>
              <a:gd name="connsiteY1" fmla="*/ 387222 h 7971178"/>
              <a:gd name="connsiteX2" fmla="*/ 3103178 w 4868723"/>
              <a:gd name="connsiteY2" fmla="*/ 422040 h 7971178"/>
              <a:gd name="connsiteX3" fmla="*/ 4866576 w 4868723"/>
              <a:gd name="connsiteY3" fmla="*/ 3736740 h 7971178"/>
              <a:gd name="connsiteX4" fmla="*/ 2751486 w 4868723"/>
              <a:gd name="connsiteY4" fmla="*/ 7280040 h 7971178"/>
              <a:gd name="connsiteX5" fmla="*/ 192591 w 4868723"/>
              <a:gd name="connsiteY5" fmla="*/ 7277850 h 7971178"/>
              <a:gd name="connsiteX0" fmla="*/ 193427 w 4869559"/>
              <a:gd name="connsiteY0" fmla="*/ 7163116 h 7856444"/>
              <a:gd name="connsiteX1" fmla="*/ 182833 w 4869559"/>
              <a:gd name="connsiteY1" fmla="*/ 272488 h 7856444"/>
              <a:gd name="connsiteX2" fmla="*/ 3104014 w 4869559"/>
              <a:gd name="connsiteY2" fmla="*/ 307306 h 7856444"/>
              <a:gd name="connsiteX3" fmla="*/ 4867412 w 4869559"/>
              <a:gd name="connsiteY3" fmla="*/ 3622006 h 7856444"/>
              <a:gd name="connsiteX4" fmla="*/ 2752322 w 4869559"/>
              <a:gd name="connsiteY4" fmla="*/ 7165306 h 7856444"/>
              <a:gd name="connsiteX5" fmla="*/ 193427 w 4869559"/>
              <a:gd name="connsiteY5" fmla="*/ 7163116 h 7856444"/>
              <a:gd name="connsiteX0" fmla="*/ 170155 w 4846287"/>
              <a:gd name="connsiteY0" fmla="*/ 7143047 h 7831040"/>
              <a:gd name="connsiteX1" fmla="*/ 233007 w 4846287"/>
              <a:gd name="connsiteY1" fmla="*/ 329537 h 7831040"/>
              <a:gd name="connsiteX2" fmla="*/ 3080742 w 4846287"/>
              <a:gd name="connsiteY2" fmla="*/ 287237 h 7831040"/>
              <a:gd name="connsiteX3" fmla="*/ 4844140 w 4846287"/>
              <a:gd name="connsiteY3" fmla="*/ 3601937 h 7831040"/>
              <a:gd name="connsiteX4" fmla="*/ 2729050 w 4846287"/>
              <a:gd name="connsiteY4" fmla="*/ 7145237 h 7831040"/>
              <a:gd name="connsiteX5" fmla="*/ 170155 w 4846287"/>
              <a:gd name="connsiteY5" fmla="*/ 7143047 h 7831040"/>
              <a:gd name="connsiteX0" fmla="*/ 188486 w 4864618"/>
              <a:gd name="connsiteY0" fmla="*/ 7162098 h 7855172"/>
              <a:gd name="connsiteX1" fmla="*/ 192581 w 4864618"/>
              <a:gd name="connsiteY1" fmla="*/ 275143 h 7855172"/>
              <a:gd name="connsiteX2" fmla="*/ 3099073 w 4864618"/>
              <a:gd name="connsiteY2" fmla="*/ 306288 h 7855172"/>
              <a:gd name="connsiteX3" fmla="*/ 4862471 w 4864618"/>
              <a:gd name="connsiteY3" fmla="*/ 3620988 h 7855172"/>
              <a:gd name="connsiteX4" fmla="*/ 2747381 w 4864618"/>
              <a:gd name="connsiteY4" fmla="*/ 7164288 h 7855172"/>
              <a:gd name="connsiteX5" fmla="*/ 188486 w 4864618"/>
              <a:gd name="connsiteY5" fmla="*/ 7162098 h 785517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181559 h 7874633"/>
              <a:gd name="connsiteX1" fmla="*/ 344138 w 5016181"/>
              <a:gd name="connsiteY1" fmla="*/ 294604 h 7874633"/>
              <a:gd name="connsiteX2" fmla="*/ 3254303 w 5016181"/>
              <a:gd name="connsiteY2" fmla="*/ 296371 h 7874633"/>
              <a:gd name="connsiteX3" fmla="*/ 5014028 w 5016181"/>
              <a:gd name="connsiteY3" fmla="*/ 3640449 h 7874633"/>
              <a:gd name="connsiteX4" fmla="*/ 2898938 w 5016181"/>
              <a:gd name="connsiteY4" fmla="*/ 7183749 h 7874633"/>
              <a:gd name="connsiteX5" fmla="*/ 340043 w 5016181"/>
              <a:gd name="connsiteY5" fmla="*/ 7181559 h 7874633"/>
              <a:gd name="connsiteX0" fmla="*/ 340043 w 5016181"/>
              <a:gd name="connsiteY0" fmla="*/ 7183197 h 7876271"/>
              <a:gd name="connsiteX1" fmla="*/ 344138 w 5016181"/>
              <a:gd name="connsiteY1" fmla="*/ 296242 h 7876271"/>
              <a:gd name="connsiteX2" fmla="*/ 3254303 w 5016181"/>
              <a:gd name="connsiteY2" fmla="*/ 298009 h 7876271"/>
              <a:gd name="connsiteX3" fmla="*/ 5014028 w 5016181"/>
              <a:gd name="connsiteY3" fmla="*/ 3642087 h 7876271"/>
              <a:gd name="connsiteX4" fmla="*/ 2898938 w 5016181"/>
              <a:gd name="connsiteY4" fmla="*/ 7185387 h 7876271"/>
              <a:gd name="connsiteX5" fmla="*/ 340043 w 5016181"/>
              <a:gd name="connsiteY5" fmla="*/ 7183197 h 7876271"/>
              <a:gd name="connsiteX0" fmla="*/ 340043 w 5016181"/>
              <a:gd name="connsiteY0" fmla="*/ 7184031 h 7877324"/>
              <a:gd name="connsiteX1" fmla="*/ 344138 w 5016181"/>
              <a:gd name="connsiteY1" fmla="*/ 293901 h 7877324"/>
              <a:gd name="connsiteX2" fmla="*/ 3254303 w 5016181"/>
              <a:gd name="connsiteY2" fmla="*/ 298843 h 7877324"/>
              <a:gd name="connsiteX3" fmla="*/ 5014028 w 5016181"/>
              <a:gd name="connsiteY3" fmla="*/ 3642921 h 7877324"/>
              <a:gd name="connsiteX4" fmla="*/ 2898938 w 5016181"/>
              <a:gd name="connsiteY4" fmla="*/ 7186221 h 7877324"/>
              <a:gd name="connsiteX5" fmla="*/ 340043 w 5016181"/>
              <a:gd name="connsiteY5" fmla="*/ 7184031 h 7877324"/>
              <a:gd name="connsiteX0" fmla="*/ 338200 w 5014338"/>
              <a:gd name="connsiteY0" fmla="*/ 7184031 h 7877324"/>
              <a:gd name="connsiteX1" fmla="*/ 345470 w 5014338"/>
              <a:gd name="connsiteY1" fmla="*/ 293901 h 7877324"/>
              <a:gd name="connsiteX2" fmla="*/ 3252460 w 5014338"/>
              <a:gd name="connsiteY2" fmla="*/ 298843 h 7877324"/>
              <a:gd name="connsiteX3" fmla="*/ 5012185 w 5014338"/>
              <a:gd name="connsiteY3" fmla="*/ 3642921 h 7877324"/>
              <a:gd name="connsiteX4" fmla="*/ 2897095 w 5014338"/>
              <a:gd name="connsiteY4" fmla="*/ 7186221 h 7877324"/>
              <a:gd name="connsiteX5" fmla="*/ 338200 w 5014338"/>
              <a:gd name="connsiteY5" fmla="*/ 7184031 h 7877324"/>
              <a:gd name="connsiteX0" fmla="*/ 338200 w 5014338"/>
              <a:gd name="connsiteY0" fmla="*/ 7183318 h 7876611"/>
              <a:gd name="connsiteX1" fmla="*/ 345470 w 5014338"/>
              <a:gd name="connsiteY1" fmla="*/ 293188 h 7876611"/>
              <a:gd name="connsiteX2" fmla="*/ 3252460 w 5014338"/>
              <a:gd name="connsiteY2" fmla="*/ 298130 h 7876611"/>
              <a:gd name="connsiteX3" fmla="*/ 5012185 w 5014338"/>
              <a:gd name="connsiteY3" fmla="*/ 3642208 h 7876611"/>
              <a:gd name="connsiteX4" fmla="*/ 2897095 w 5014338"/>
              <a:gd name="connsiteY4" fmla="*/ 7185508 h 7876611"/>
              <a:gd name="connsiteX5" fmla="*/ 338200 w 5014338"/>
              <a:gd name="connsiteY5" fmla="*/ 7183318 h 7876611"/>
              <a:gd name="connsiteX0" fmla="*/ 189227 w 4865365"/>
              <a:gd name="connsiteY0" fmla="*/ 7183318 h 7876611"/>
              <a:gd name="connsiteX1" fmla="*/ 196497 w 4865365"/>
              <a:gd name="connsiteY1" fmla="*/ 293188 h 7876611"/>
              <a:gd name="connsiteX2" fmla="*/ 3103487 w 4865365"/>
              <a:gd name="connsiteY2" fmla="*/ 298130 h 7876611"/>
              <a:gd name="connsiteX3" fmla="*/ 4863212 w 4865365"/>
              <a:gd name="connsiteY3" fmla="*/ 3642208 h 7876611"/>
              <a:gd name="connsiteX4" fmla="*/ 2748122 w 4865365"/>
              <a:gd name="connsiteY4" fmla="*/ 7185508 h 7876611"/>
              <a:gd name="connsiteX5" fmla="*/ 189227 w 4865365"/>
              <a:gd name="connsiteY5" fmla="*/ 7183318 h 7876611"/>
              <a:gd name="connsiteX0" fmla="*/ 192432 w 4868570"/>
              <a:gd name="connsiteY0" fmla="*/ 7183318 h 7876611"/>
              <a:gd name="connsiteX1" fmla="*/ 190177 w 4868570"/>
              <a:gd name="connsiteY1" fmla="*/ 293188 h 7876611"/>
              <a:gd name="connsiteX2" fmla="*/ 3106692 w 4868570"/>
              <a:gd name="connsiteY2" fmla="*/ 298130 h 7876611"/>
              <a:gd name="connsiteX3" fmla="*/ 4866417 w 4868570"/>
              <a:gd name="connsiteY3" fmla="*/ 3642208 h 7876611"/>
              <a:gd name="connsiteX4" fmla="*/ 2751327 w 4868570"/>
              <a:gd name="connsiteY4" fmla="*/ 7185508 h 7876611"/>
              <a:gd name="connsiteX5" fmla="*/ 192432 w 4868570"/>
              <a:gd name="connsiteY5" fmla="*/ 7183318 h 7876611"/>
              <a:gd name="connsiteX0" fmla="*/ 190287 w 4866425"/>
              <a:gd name="connsiteY0" fmla="*/ 7183318 h 7876611"/>
              <a:gd name="connsiteX1" fmla="*/ 188032 w 4866425"/>
              <a:gd name="connsiteY1" fmla="*/ 293188 h 7876611"/>
              <a:gd name="connsiteX2" fmla="*/ 3104547 w 4866425"/>
              <a:gd name="connsiteY2" fmla="*/ 298130 h 7876611"/>
              <a:gd name="connsiteX3" fmla="*/ 4864272 w 4866425"/>
              <a:gd name="connsiteY3" fmla="*/ 3642208 h 7876611"/>
              <a:gd name="connsiteX4" fmla="*/ 2749182 w 4866425"/>
              <a:gd name="connsiteY4" fmla="*/ 7185508 h 7876611"/>
              <a:gd name="connsiteX5" fmla="*/ 190287 w 4866425"/>
              <a:gd name="connsiteY5" fmla="*/ 7183318 h 7876611"/>
              <a:gd name="connsiteX0" fmla="*/ 190287 w 4866425"/>
              <a:gd name="connsiteY0" fmla="*/ 7154743 h 7859802"/>
              <a:gd name="connsiteX1" fmla="*/ 188032 w 4866425"/>
              <a:gd name="connsiteY1" fmla="*/ 293188 h 7859802"/>
              <a:gd name="connsiteX2" fmla="*/ 3104547 w 4866425"/>
              <a:gd name="connsiteY2" fmla="*/ 298130 h 7859802"/>
              <a:gd name="connsiteX3" fmla="*/ 4864272 w 4866425"/>
              <a:gd name="connsiteY3" fmla="*/ 3642208 h 7859802"/>
              <a:gd name="connsiteX4" fmla="*/ 2749182 w 4866425"/>
              <a:gd name="connsiteY4" fmla="*/ 7185508 h 7859802"/>
              <a:gd name="connsiteX5" fmla="*/ 190287 w 4866425"/>
              <a:gd name="connsiteY5" fmla="*/ 7154743 h 7859802"/>
              <a:gd name="connsiteX0" fmla="*/ 2255 w 4678393"/>
              <a:gd name="connsiteY0" fmla="*/ 7154743 h 7872894"/>
              <a:gd name="connsiteX1" fmla="*/ 0 w 4678393"/>
              <a:gd name="connsiteY1" fmla="*/ 293188 h 7872894"/>
              <a:gd name="connsiteX2" fmla="*/ 2916515 w 4678393"/>
              <a:gd name="connsiteY2" fmla="*/ 298130 h 7872894"/>
              <a:gd name="connsiteX3" fmla="*/ 4676240 w 4678393"/>
              <a:gd name="connsiteY3" fmla="*/ 3642208 h 7872894"/>
              <a:gd name="connsiteX4" fmla="*/ 2561150 w 4678393"/>
              <a:gd name="connsiteY4" fmla="*/ 7185508 h 7872894"/>
              <a:gd name="connsiteX5" fmla="*/ 2255 w 4678393"/>
              <a:gd name="connsiteY5" fmla="*/ 7154743 h 7872894"/>
              <a:gd name="connsiteX0" fmla="*/ 2822 w 4678960"/>
              <a:gd name="connsiteY0" fmla="*/ 7154743 h 7874206"/>
              <a:gd name="connsiteX1" fmla="*/ 567 w 4678960"/>
              <a:gd name="connsiteY1" fmla="*/ 293188 h 7874206"/>
              <a:gd name="connsiteX2" fmla="*/ 2917082 w 4678960"/>
              <a:gd name="connsiteY2" fmla="*/ 298130 h 7874206"/>
              <a:gd name="connsiteX3" fmla="*/ 4676807 w 4678960"/>
              <a:gd name="connsiteY3" fmla="*/ 3642208 h 7874206"/>
              <a:gd name="connsiteX4" fmla="*/ 2561717 w 4678960"/>
              <a:gd name="connsiteY4" fmla="*/ 7185508 h 7874206"/>
              <a:gd name="connsiteX5" fmla="*/ 2822 w 4678960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473936"/>
              <a:gd name="connsiteX1" fmla="*/ 0 w 4678393"/>
              <a:gd name="connsiteY1" fmla="*/ 293188 h 7473936"/>
              <a:gd name="connsiteX2" fmla="*/ 2916515 w 4678393"/>
              <a:gd name="connsiteY2" fmla="*/ 298130 h 7473936"/>
              <a:gd name="connsiteX3" fmla="*/ 4676240 w 4678393"/>
              <a:gd name="connsiteY3" fmla="*/ 3642208 h 7473936"/>
              <a:gd name="connsiteX4" fmla="*/ 2561150 w 4678393"/>
              <a:gd name="connsiteY4" fmla="*/ 7185508 h 7473936"/>
              <a:gd name="connsiteX5" fmla="*/ 2255 w 4678393"/>
              <a:gd name="connsiteY5" fmla="*/ 7154743 h 7473936"/>
              <a:gd name="connsiteX0" fmla="*/ 2255 w 4678393"/>
              <a:gd name="connsiteY0" fmla="*/ 7154743 h 7450206"/>
              <a:gd name="connsiteX1" fmla="*/ 0 w 4678393"/>
              <a:gd name="connsiteY1" fmla="*/ 293188 h 7450206"/>
              <a:gd name="connsiteX2" fmla="*/ 2916515 w 4678393"/>
              <a:gd name="connsiteY2" fmla="*/ 298130 h 7450206"/>
              <a:gd name="connsiteX3" fmla="*/ 4676240 w 4678393"/>
              <a:gd name="connsiteY3" fmla="*/ 3642208 h 7450206"/>
              <a:gd name="connsiteX4" fmla="*/ 2564325 w 4678393"/>
              <a:gd name="connsiteY4" fmla="*/ 7153758 h 7450206"/>
              <a:gd name="connsiteX5" fmla="*/ 2255 w 4678393"/>
              <a:gd name="connsiteY5" fmla="*/ 7154743 h 7450206"/>
              <a:gd name="connsiteX0" fmla="*/ 2255 w 4678393"/>
              <a:gd name="connsiteY0" fmla="*/ 7154743 h 7154743"/>
              <a:gd name="connsiteX1" fmla="*/ 0 w 4678393"/>
              <a:gd name="connsiteY1" fmla="*/ 293188 h 7154743"/>
              <a:gd name="connsiteX2" fmla="*/ 2916515 w 4678393"/>
              <a:gd name="connsiteY2" fmla="*/ 298130 h 7154743"/>
              <a:gd name="connsiteX3" fmla="*/ 4676240 w 4678393"/>
              <a:gd name="connsiteY3" fmla="*/ 3642208 h 7154743"/>
              <a:gd name="connsiteX4" fmla="*/ 2564325 w 4678393"/>
              <a:gd name="connsiteY4" fmla="*/ 7153758 h 7154743"/>
              <a:gd name="connsiteX5" fmla="*/ 2255 w 4678393"/>
              <a:gd name="connsiteY5" fmla="*/ 7154743 h 7154743"/>
              <a:gd name="connsiteX0" fmla="*/ 2255 w 4678393"/>
              <a:gd name="connsiteY0" fmla="*/ 6861555 h 6861555"/>
              <a:gd name="connsiteX1" fmla="*/ 0 w 4678393"/>
              <a:gd name="connsiteY1" fmla="*/ 0 h 6861555"/>
              <a:gd name="connsiteX2" fmla="*/ 2916515 w 4678393"/>
              <a:gd name="connsiteY2" fmla="*/ 4942 h 6861555"/>
              <a:gd name="connsiteX3" fmla="*/ 4676240 w 4678393"/>
              <a:gd name="connsiteY3" fmla="*/ 3349020 h 6861555"/>
              <a:gd name="connsiteX4" fmla="*/ 2564325 w 4678393"/>
              <a:gd name="connsiteY4" fmla="*/ 6860570 h 6861555"/>
              <a:gd name="connsiteX5" fmla="*/ 2255 w 4678393"/>
              <a:gd name="connsiteY5" fmla="*/ 6861555 h 6861555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9009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8377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3061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71578"/>
              <a:gd name="connsiteX1" fmla="*/ 0 w 4678399"/>
              <a:gd name="connsiteY1" fmla="*/ 1408 h 6871578"/>
              <a:gd name="connsiteX2" fmla="*/ 2919690 w 4678399"/>
              <a:gd name="connsiteY2" fmla="*/ 0 h 6871578"/>
              <a:gd name="connsiteX3" fmla="*/ 4676240 w 4678399"/>
              <a:gd name="connsiteY3" fmla="*/ 3350428 h 6871578"/>
              <a:gd name="connsiteX4" fmla="*/ 2521796 w 4678399"/>
              <a:gd name="connsiteY4" fmla="*/ 6871578 h 6871578"/>
              <a:gd name="connsiteX5" fmla="*/ 2255 w 4678399"/>
              <a:gd name="connsiteY5" fmla="*/ 6862963 h 6871578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6240" h="6862963">
                <a:moveTo>
                  <a:pt x="2255" y="6862963"/>
                </a:moveTo>
                <a:cubicBezTo>
                  <a:pt x="847" y="5679318"/>
                  <a:pt x="65" y="1117189"/>
                  <a:pt x="0" y="1408"/>
                </a:cubicBezTo>
                <a:lnTo>
                  <a:pt x="2919690" y="0"/>
                </a:lnTo>
                <a:cubicBezTo>
                  <a:pt x="3347209" y="321191"/>
                  <a:pt x="4644479" y="1245147"/>
                  <a:pt x="4676240" y="3350428"/>
                </a:cubicBezTo>
                <a:cubicBezTo>
                  <a:pt x="4625578" y="5097946"/>
                  <a:pt x="3667890" y="6255680"/>
                  <a:pt x="2516480" y="6860945"/>
                </a:cubicBezTo>
                <a:lnTo>
                  <a:pt x="2255" y="6862963"/>
                </a:lnTo>
                <a:close/>
              </a:path>
            </a:pathLst>
          </a:custGeom>
          <a:ln>
            <a:noFill/>
          </a:ln>
          <a:extLst>
            <a:ext uri="{91240B29-F687-4f45-9708-019B960494DF}"/>
          </a:extLst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8461" y="110949"/>
            <a:ext cx="6882540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28461" y="1533600"/>
            <a:ext cx="688254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928461" y="2174400"/>
            <a:ext cx="688254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40357110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2585" y="110949"/>
            <a:ext cx="7138416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72585" y="1533600"/>
            <a:ext cx="713841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72585" y="2174400"/>
            <a:ext cx="7138416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3CA72A1A-CDA5-9A46-A824-8BA40A7BC7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301067" cy="68580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67581795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788668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091988" y="0"/>
            <a:ext cx="128587" cy="145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76446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 Titl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0"/>
          <p:cNvSpPr/>
          <p:nvPr userDrawn="1"/>
        </p:nvSpPr>
        <p:spPr bwMode="ltGray">
          <a:xfrm>
            <a:off x="385763" y="4851400"/>
            <a:ext cx="11806237" cy="1333500"/>
          </a:xfrm>
          <a:prstGeom prst="roundRect">
            <a:avLst>
              <a:gd name="adj" fmla="val 3574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2109450" y="4851400"/>
            <a:ext cx="82550" cy="1335088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6" name="Picture 6" descr="new-idexx-color-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275" y="5399088"/>
            <a:ext cx="13049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le 32"/>
          <p:cNvSpPr>
            <a:spLocks noGrp="1"/>
          </p:cNvSpPr>
          <p:nvPr>
            <p:ph type="title"/>
          </p:nvPr>
        </p:nvSpPr>
        <p:spPr>
          <a:xfrm>
            <a:off x="2203703" y="4927604"/>
            <a:ext cx="9601200" cy="704148"/>
          </a:xfrm>
          <a:prstGeom prst="rect">
            <a:avLst/>
          </a:prstGeom>
        </p:spPr>
        <p:txBody>
          <a:bodyPr vert="horz" anchor="b"/>
          <a:lstStyle>
            <a:lvl1pPr algn="l">
              <a:defRPr sz="320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/>
          </p:nvPr>
        </p:nvSpPr>
        <p:spPr>
          <a:xfrm>
            <a:off x="2203703" y="5631752"/>
            <a:ext cx="9601200" cy="464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5710378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81000" y="1601788"/>
            <a:ext cx="11430000" cy="4525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65904042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789884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F9D744F-A08B-5145-BBEA-D42E6BD319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" y="1533600"/>
            <a:ext cx="4430684" cy="44306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0177627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5868DF8-0066-C04C-B523-8450D0A451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533600"/>
            <a:ext cx="560134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D81E9A-BFAC-2649-8EA2-1E71B0607B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2174400"/>
            <a:ext cx="5601346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AB4DA10-386C-0E45-8192-A2D9EB1279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9322" y="1534150"/>
            <a:ext cx="5611678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BA2A10C-A80A-324D-B7BC-4A1C81054B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9322" y="2174950"/>
            <a:ext cx="5611678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8228718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381000" y="1533600"/>
            <a:ext cx="4590288" cy="4593600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46020676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 bwMode="ltGray">
          <a:xfrm>
            <a:off x="0" y="-9254"/>
            <a:ext cx="4672584" cy="6867254"/>
          </a:xfrm>
          <a:custGeom>
            <a:avLst/>
            <a:gdLst>
              <a:gd name="connsiteX0" fmla="*/ 0 w 8001000"/>
              <a:gd name="connsiteY0" fmla="*/ 4000500 h 8001000"/>
              <a:gd name="connsiteX1" fmla="*/ 4000500 w 8001000"/>
              <a:gd name="connsiteY1" fmla="*/ 0 h 8001000"/>
              <a:gd name="connsiteX2" fmla="*/ 8001000 w 8001000"/>
              <a:gd name="connsiteY2" fmla="*/ 4000500 h 8001000"/>
              <a:gd name="connsiteX3" fmla="*/ 4000500 w 8001000"/>
              <a:gd name="connsiteY3" fmla="*/ 8001000 h 8001000"/>
              <a:gd name="connsiteX4" fmla="*/ 0 w 8001000"/>
              <a:gd name="connsiteY4" fmla="*/ 4000500 h 8001000"/>
              <a:gd name="connsiteX0" fmla="*/ 0 w 8060683"/>
              <a:gd name="connsiteY0" fmla="*/ 4222799 h 8223299"/>
              <a:gd name="connsiteX1" fmla="*/ 4000500 w 8060683"/>
              <a:gd name="connsiteY1" fmla="*/ 222299 h 8223299"/>
              <a:gd name="connsiteX2" fmla="*/ 6237602 w 8060683"/>
              <a:gd name="connsiteY2" fmla="*/ 908099 h 8223299"/>
              <a:gd name="connsiteX3" fmla="*/ 8001000 w 8060683"/>
              <a:gd name="connsiteY3" fmla="*/ 4222799 h 8223299"/>
              <a:gd name="connsiteX4" fmla="*/ 4000500 w 8060683"/>
              <a:gd name="connsiteY4" fmla="*/ 8223299 h 8223299"/>
              <a:gd name="connsiteX5" fmla="*/ 0 w 8060683"/>
              <a:gd name="connsiteY5" fmla="*/ 4222799 h 8223299"/>
              <a:gd name="connsiteX0" fmla="*/ 8055 w 8068738"/>
              <a:gd name="connsiteY0" fmla="*/ 3760842 h 7761342"/>
              <a:gd name="connsiteX1" fmla="*/ 3296378 w 8068738"/>
              <a:gd name="connsiteY1" fmla="*/ 472519 h 7761342"/>
              <a:gd name="connsiteX2" fmla="*/ 6245657 w 8068738"/>
              <a:gd name="connsiteY2" fmla="*/ 446142 h 7761342"/>
              <a:gd name="connsiteX3" fmla="*/ 8009055 w 8068738"/>
              <a:gd name="connsiteY3" fmla="*/ 3760842 h 7761342"/>
              <a:gd name="connsiteX4" fmla="*/ 4008555 w 8068738"/>
              <a:gd name="connsiteY4" fmla="*/ 7761342 h 7761342"/>
              <a:gd name="connsiteX5" fmla="*/ 8055 w 8068738"/>
              <a:gd name="connsiteY5" fmla="*/ 3760842 h 7761342"/>
              <a:gd name="connsiteX0" fmla="*/ 6123 w 8066806"/>
              <a:gd name="connsiteY0" fmla="*/ 3768834 h 7769334"/>
              <a:gd name="connsiteX1" fmla="*/ 3373577 w 8066806"/>
              <a:gd name="connsiteY1" fmla="*/ 462926 h 7769334"/>
              <a:gd name="connsiteX2" fmla="*/ 6243725 w 8066806"/>
              <a:gd name="connsiteY2" fmla="*/ 454134 h 7769334"/>
              <a:gd name="connsiteX3" fmla="*/ 8007123 w 8066806"/>
              <a:gd name="connsiteY3" fmla="*/ 3768834 h 7769334"/>
              <a:gd name="connsiteX4" fmla="*/ 4006623 w 8066806"/>
              <a:gd name="connsiteY4" fmla="*/ 7769334 h 7769334"/>
              <a:gd name="connsiteX5" fmla="*/ 6123 w 8066806"/>
              <a:gd name="connsiteY5" fmla="*/ 3768834 h 7769334"/>
              <a:gd name="connsiteX0" fmla="*/ 6939 w 8067622"/>
              <a:gd name="connsiteY0" fmla="*/ 3768834 h 7769334"/>
              <a:gd name="connsiteX1" fmla="*/ 3339224 w 8067622"/>
              <a:gd name="connsiteY1" fmla="*/ 462926 h 7769334"/>
              <a:gd name="connsiteX2" fmla="*/ 6244541 w 8067622"/>
              <a:gd name="connsiteY2" fmla="*/ 454134 h 7769334"/>
              <a:gd name="connsiteX3" fmla="*/ 8007939 w 8067622"/>
              <a:gd name="connsiteY3" fmla="*/ 3768834 h 7769334"/>
              <a:gd name="connsiteX4" fmla="*/ 4007439 w 8067622"/>
              <a:gd name="connsiteY4" fmla="*/ 7769334 h 7769334"/>
              <a:gd name="connsiteX5" fmla="*/ 6939 w 8067622"/>
              <a:gd name="connsiteY5" fmla="*/ 3768834 h 7769334"/>
              <a:gd name="connsiteX0" fmla="*/ 6939 w 8010086"/>
              <a:gd name="connsiteY0" fmla="*/ 3768834 h 7984710"/>
              <a:gd name="connsiteX1" fmla="*/ 3339224 w 8010086"/>
              <a:gd name="connsiteY1" fmla="*/ 462926 h 7984710"/>
              <a:gd name="connsiteX2" fmla="*/ 6244541 w 8010086"/>
              <a:gd name="connsiteY2" fmla="*/ 454134 h 7984710"/>
              <a:gd name="connsiteX3" fmla="*/ 8007939 w 8010086"/>
              <a:gd name="connsiteY3" fmla="*/ 3768834 h 7984710"/>
              <a:gd name="connsiteX4" fmla="*/ 5892849 w 8010086"/>
              <a:gd name="connsiteY4" fmla="*/ 7057157 h 7984710"/>
              <a:gd name="connsiteX5" fmla="*/ 4007439 w 8010086"/>
              <a:gd name="connsiteY5" fmla="*/ 7769334 h 7984710"/>
              <a:gd name="connsiteX6" fmla="*/ 6939 w 8010086"/>
              <a:gd name="connsiteY6" fmla="*/ 3768834 h 7984710"/>
              <a:gd name="connsiteX0" fmla="*/ 6939 w 8010086"/>
              <a:gd name="connsiteY0" fmla="*/ 3768834 h 8061801"/>
              <a:gd name="connsiteX1" fmla="*/ 3339224 w 8010086"/>
              <a:gd name="connsiteY1" fmla="*/ 462926 h 8061801"/>
              <a:gd name="connsiteX2" fmla="*/ 6244541 w 8010086"/>
              <a:gd name="connsiteY2" fmla="*/ 454134 h 8061801"/>
              <a:gd name="connsiteX3" fmla="*/ 8007939 w 8010086"/>
              <a:gd name="connsiteY3" fmla="*/ 3768834 h 8061801"/>
              <a:gd name="connsiteX4" fmla="*/ 5892849 w 8010086"/>
              <a:gd name="connsiteY4" fmla="*/ 7312134 h 8061801"/>
              <a:gd name="connsiteX5" fmla="*/ 4007439 w 8010086"/>
              <a:gd name="connsiteY5" fmla="*/ 7769334 h 8061801"/>
              <a:gd name="connsiteX6" fmla="*/ 6939 w 8010086"/>
              <a:gd name="connsiteY6" fmla="*/ 3768834 h 8061801"/>
              <a:gd name="connsiteX0" fmla="*/ 6 w 8003153"/>
              <a:gd name="connsiteY0" fmla="*/ 3768834 h 7779879"/>
              <a:gd name="connsiteX1" fmla="*/ 3332291 w 8003153"/>
              <a:gd name="connsiteY1" fmla="*/ 462926 h 7779879"/>
              <a:gd name="connsiteX2" fmla="*/ 6237608 w 8003153"/>
              <a:gd name="connsiteY2" fmla="*/ 454134 h 7779879"/>
              <a:gd name="connsiteX3" fmla="*/ 8001006 w 8003153"/>
              <a:gd name="connsiteY3" fmla="*/ 3768834 h 7779879"/>
              <a:gd name="connsiteX4" fmla="*/ 5885916 w 8003153"/>
              <a:gd name="connsiteY4" fmla="*/ 7312134 h 7779879"/>
              <a:gd name="connsiteX5" fmla="*/ 3349875 w 8003153"/>
              <a:gd name="connsiteY5" fmla="*/ 7303342 h 7779879"/>
              <a:gd name="connsiteX6" fmla="*/ 6 w 8003153"/>
              <a:gd name="connsiteY6" fmla="*/ 3768834 h 7779879"/>
              <a:gd name="connsiteX0" fmla="*/ 3 w 8003150"/>
              <a:gd name="connsiteY0" fmla="*/ 3768834 h 7775751"/>
              <a:gd name="connsiteX1" fmla="*/ 3332288 w 8003150"/>
              <a:gd name="connsiteY1" fmla="*/ 462926 h 7775751"/>
              <a:gd name="connsiteX2" fmla="*/ 6237605 w 8003150"/>
              <a:gd name="connsiteY2" fmla="*/ 454134 h 7775751"/>
              <a:gd name="connsiteX3" fmla="*/ 8001003 w 8003150"/>
              <a:gd name="connsiteY3" fmla="*/ 3768834 h 7775751"/>
              <a:gd name="connsiteX4" fmla="*/ 5885913 w 8003150"/>
              <a:gd name="connsiteY4" fmla="*/ 7312134 h 7775751"/>
              <a:gd name="connsiteX5" fmla="*/ 3314702 w 8003150"/>
              <a:gd name="connsiteY5" fmla="*/ 7294550 h 7775751"/>
              <a:gd name="connsiteX6" fmla="*/ 3 w 8003150"/>
              <a:gd name="connsiteY6" fmla="*/ 3768834 h 77757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35777 h 7832403"/>
              <a:gd name="connsiteX1" fmla="*/ 664079 w 5334941"/>
              <a:gd name="connsiteY1" fmla="*/ 304153 h 7832403"/>
              <a:gd name="connsiteX2" fmla="*/ 3569396 w 5334941"/>
              <a:gd name="connsiteY2" fmla="*/ 295361 h 7832403"/>
              <a:gd name="connsiteX3" fmla="*/ 5332794 w 5334941"/>
              <a:gd name="connsiteY3" fmla="*/ 3610061 h 7832403"/>
              <a:gd name="connsiteX4" fmla="*/ 3217704 w 5334941"/>
              <a:gd name="connsiteY4" fmla="*/ 7153361 h 7832403"/>
              <a:gd name="connsiteX5" fmla="*/ 646493 w 5334941"/>
              <a:gd name="connsiteY5" fmla="*/ 7135777 h 7832403"/>
              <a:gd name="connsiteX0" fmla="*/ 182720 w 4871168"/>
              <a:gd name="connsiteY0" fmla="*/ 7135777 h 7832403"/>
              <a:gd name="connsiteX1" fmla="*/ 200306 w 4871168"/>
              <a:gd name="connsiteY1" fmla="*/ 304153 h 7832403"/>
              <a:gd name="connsiteX2" fmla="*/ 3105623 w 4871168"/>
              <a:gd name="connsiteY2" fmla="*/ 295361 h 7832403"/>
              <a:gd name="connsiteX3" fmla="*/ 4869021 w 4871168"/>
              <a:gd name="connsiteY3" fmla="*/ 3610061 h 7832403"/>
              <a:gd name="connsiteX4" fmla="*/ 2753931 w 4871168"/>
              <a:gd name="connsiteY4" fmla="*/ 7153361 h 7832403"/>
              <a:gd name="connsiteX5" fmla="*/ 182720 w 4871168"/>
              <a:gd name="connsiteY5" fmla="*/ 7135777 h 7832403"/>
              <a:gd name="connsiteX0" fmla="*/ 182720 w 4871168"/>
              <a:gd name="connsiteY0" fmla="*/ 7124471 h 7821097"/>
              <a:gd name="connsiteX1" fmla="*/ 200306 w 4871168"/>
              <a:gd name="connsiteY1" fmla="*/ 292847 h 7821097"/>
              <a:gd name="connsiteX2" fmla="*/ 3105623 w 4871168"/>
              <a:gd name="connsiteY2" fmla="*/ 284055 h 7821097"/>
              <a:gd name="connsiteX3" fmla="*/ 4869021 w 4871168"/>
              <a:gd name="connsiteY3" fmla="*/ 3598755 h 7821097"/>
              <a:gd name="connsiteX4" fmla="*/ 2753931 w 4871168"/>
              <a:gd name="connsiteY4" fmla="*/ 7142055 h 7821097"/>
              <a:gd name="connsiteX5" fmla="*/ 182720 w 4871168"/>
              <a:gd name="connsiteY5" fmla="*/ 7124471 h 7821097"/>
              <a:gd name="connsiteX0" fmla="*/ 182720 w 4871168"/>
              <a:gd name="connsiteY0" fmla="*/ 7133321 h 7829947"/>
              <a:gd name="connsiteX1" fmla="*/ 200306 w 4871168"/>
              <a:gd name="connsiteY1" fmla="*/ 301697 h 7829947"/>
              <a:gd name="connsiteX2" fmla="*/ 3105623 w 4871168"/>
              <a:gd name="connsiteY2" fmla="*/ 292905 h 7829947"/>
              <a:gd name="connsiteX3" fmla="*/ 4869021 w 4871168"/>
              <a:gd name="connsiteY3" fmla="*/ 3607605 h 7829947"/>
              <a:gd name="connsiteX4" fmla="*/ 2753931 w 4871168"/>
              <a:gd name="connsiteY4" fmla="*/ 7150905 h 7829947"/>
              <a:gd name="connsiteX5" fmla="*/ 182720 w 4871168"/>
              <a:gd name="connsiteY5" fmla="*/ 7133321 h 7829947"/>
              <a:gd name="connsiteX0" fmla="*/ 186720 w 4875168"/>
              <a:gd name="connsiteY0" fmla="*/ 7137599 h 7835370"/>
              <a:gd name="connsiteX1" fmla="*/ 191837 w 4875168"/>
              <a:gd name="connsiteY1" fmla="*/ 289350 h 7835370"/>
              <a:gd name="connsiteX2" fmla="*/ 3109623 w 4875168"/>
              <a:gd name="connsiteY2" fmla="*/ 297183 h 7835370"/>
              <a:gd name="connsiteX3" fmla="*/ 4873021 w 4875168"/>
              <a:gd name="connsiteY3" fmla="*/ 3611883 h 7835370"/>
              <a:gd name="connsiteX4" fmla="*/ 2757931 w 4875168"/>
              <a:gd name="connsiteY4" fmla="*/ 7155183 h 7835370"/>
              <a:gd name="connsiteX5" fmla="*/ 186720 w 4875168"/>
              <a:gd name="connsiteY5" fmla="*/ 7137599 h 7835370"/>
              <a:gd name="connsiteX0" fmla="*/ 171307 w 4859755"/>
              <a:gd name="connsiteY0" fmla="*/ 7112714 h 7803338"/>
              <a:gd name="connsiteX1" fmla="*/ 226300 w 4859755"/>
              <a:gd name="connsiteY1" fmla="*/ 368374 h 7803338"/>
              <a:gd name="connsiteX2" fmla="*/ 3094210 w 4859755"/>
              <a:gd name="connsiteY2" fmla="*/ 272298 h 7803338"/>
              <a:gd name="connsiteX3" fmla="*/ 4857608 w 4859755"/>
              <a:gd name="connsiteY3" fmla="*/ 3586998 h 7803338"/>
              <a:gd name="connsiteX4" fmla="*/ 2742518 w 4859755"/>
              <a:gd name="connsiteY4" fmla="*/ 7130298 h 7803338"/>
              <a:gd name="connsiteX5" fmla="*/ 171307 w 4859755"/>
              <a:gd name="connsiteY5" fmla="*/ 7112714 h 7803338"/>
              <a:gd name="connsiteX0" fmla="*/ 184041 w 4872489"/>
              <a:gd name="connsiteY0" fmla="*/ 7134379 h 7831291"/>
              <a:gd name="connsiteX1" fmla="*/ 197470 w 4872489"/>
              <a:gd name="connsiteY1" fmla="*/ 298599 h 7831291"/>
              <a:gd name="connsiteX2" fmla="*/ 3106944 w 4872489"/>
              <a:gd name="connsiteY2" fmla="*/ 293963 h 7831291"/>
              <a:gd name="connsiteX3" fmla="*/ 4870342 w 4872489"/>
              <a:gd name="connsiteY3" fmla="*/ 3608663 h 7831291"/>
              <a:gd name="connsiteX4" fmla="*/ 2755252 w 4872489"/>
              <a:gd name="connsiteY4" fmla="*/ 7151963 h 7831291"/>
              <a:gd name="connsiteX5" fmla="*/ 184041 w 4872489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9716 w 4868927"/>
              <a:gd name="connsiteY0" fmla="*/ 7152851 h 7842196"/>
              <a:gd name="connsiteX1" fmla="*/ 193908 w 4868927"/>
              <a:gd name="connsiteY1" fmla="*/ 298599 h 7842196"/>
              <a:gd name="connsiteX2" fmla="*/ 3103382 w 4868927"/>
              <a:gd name="connsiteY2" fmla="*/ 293963 h 7842196"/>
              <a:gd name="connsiteX3" fmla="*/ 4866780 w 4868927"/>
              <a:gd name="connsiteY3" fmla="*/ 3608663 h 7842196"/>
              <a:gd name="connsiteX4" fmla="*/ 2751690 w 4868927"/>
              <a:gd name="connsiteY4" fmla="*/ 7151963 h 7842196"/>
              <a:gd name="connsiteX5" fmla="*/ 189716 w 4868927"/>
              <a:gd name="connsiteY5" fmla="*/ 7152851 h 7842196"/>
              <a:gd name="connsiteX0" fmla="*/ 2 w 4679213"/>
              <a:gd name="connsiteY0" fmla="*/ 7152851 h 7447842"/>
              <a:gd name="connsiteX1" fmla="*/ 4194 w 4679213"/>
              <a:gd name="connsiteY1" fmla="*/ 298599 h 7447842"/>
              <a:gd name="connsiteX2" fmla="*/ 2913668 w 4679213"/>
              <a:gd name="connsiteY2" fmla="*/ 293963 h 7447842"/>
              <a:gd name="connsiteX3" fmla="*/ 4677066 w 4679213"/>
              <a:gd name="connsiteY3" fmla="*/ 3608663 h 7447842"/>
              <a:gd name="connsiteX4" fmla="*/ 2561976 w 4679213"/>
              <a:gd name="connsiteY4" fmla="*/ 7151963 h 7447842"/>
              <a:gd name="connsiteX5" fmla="*/ 2 w 4679213"/>
              <a:gd name="connsiteY5" fmla="*/ 7152851 h 7447842"/>
              <a:gd name="connsiteX0" fmla="*/ 232986 w 4675130"/>
              <a:gd name="connsiteY0" fmla="*/ 7082039 h 7430577"/>
              <a:gd name="connsiteX1" fmla="*/ 111 w 4675130"/>
              <a:gd name="connsiteY1" fmla="*/ 298599 h 7430577"/>
              <a:gd name="connsiteX2" fmla="*/ 2909585 w 4675130"/>
              <a:gd name="connsiteY2" fmla="*/ 293963 h 7430577"/>
              <a:gd name="connsiteX3" fmla="*/ 4672983 w 4675130"/>
              <a:gd name="connsiteY3" fmla="*/ 3608663 h 7430577"/>
              <a:gd name="connsiteX4" fmla="*/ 2557893 w 4675130"/>
              <a:gd name="connsiteY4" fmla="*/ 7151963 h 7430577"/>
              <a:gd name="connsiteX5" fmla="*/ 232986 w 4675130"/>
              <a:gd name="connsiteY5" fmla="*/ 7082039 h 7430577"/>
              <a:gd name="connsiteX0" fmla="*/ 1481 w 4677613"/>
              <a:gd name="connsiteY0" fmla="*/ 7149773 h 7447048"/>
              <a:gd name="connsiteX1" fmla="*/ 2594 w 4677613"/>
              <a:gd name="connsiteY1" fmla="*/ 298599 h 7447048"/>
              <a:gd name="connsiteX2" fmla="*/ 2912068 w 4677613"/>
              <a:gd name="connsiteY2" fmla="*/ 293963 h 7447048"/>
              <a:gd name="connsiteX3" fmla="*/ 4675466 w 4677613"/>
              <a:gd name="connsiteY3" fmla="*/ 3608663 h 7447048"/>
              <a:gd name="connsiteX4" fmla="*/ 2560376 w 4677613"/>
              <a:gd name="connsiteY4" fmla="*/ 7151963 h 7447048"/>
              <a:gd name="connsiteX5" fmla="*/ 1481 w 4677613"/>
              <a:gd name="connsiteY5" fmla="*/ 7149773 h 7447048"/>
              <a:gd name="connsiteX0" fmla="*/ 165734 w 4841866"/>
              <a:gd name="connsiteY0" fmla="*/ 7139154 h 7826771"/>
              <a:gd name="connsiteX1" fmla="*/ 246896 w 4841866"/>
              <a:gd name="connsiteY1" fmla="*/ 331083 h 7826771"/>
              <a:gd name="connsiteX2" fmla="*/ 3076321 w 4841866"/>
              <a:gd name="connsiteY2" fmla="*/ 283344 h 7826771"/>
              <a:gd name="connsiteX3" fmla="*/ 4839719 w 4841866"/>
              <a:gd name="connsiteY3" fmla="*/ 3598044 h 7826771"/>
              <a:gd name="connsiteX4" fmla="*/ 2724629 w 4841866"/>
              <a:gd name="connsiteY4" fmla="*/ 7141344 h 7826771"/>
              <a:gd name="connsiteX5" fmla="*/ 165734 w 4841866"/>
              <a:gd name="connsiteY5" fmla="*/ 7139154 h 7826771"/>
              <a:gd name="connsiteX0" fmla="*/ 192597 w 4868729"/>
              <a:gd name="connsiteY0" fmla="*/ 7111990 h 7790893"/>
              <a:gd name="connsiteX1" fmla="*/ 187553 w 4868729"/>
              <a:gd name="connsiteY1" fmla="*/ 430149 h 7790893"/>
              <a:gd name="connsiteX2" fmla="*/ 3103184 w 4868729"/>
              <a:gd name="connsiteY2" fmla="*/ 256180 h 7790893"/>
              <a:gd name="connsiteX3" fmla="*/ 4866582 w 4868729"/>
              <a:gd name="connsiteY3" fmla="*/ 3570880 h 7790893"/>
              <a:gd name="connsiteX4" fmla="*/ 2751492 w 4868729"/>
              <a:gd name="connsiteY4" fmla="*/ 7114180 h 7790893"/>
              <a:gd name="connsiteX5" fmla="*/ 192597 w 4868729"/>
              <a:gd name="connsiteY5" fmla="*/ 7111990 h 7790893"/>
              <a:gd name="connsiteX0" fmla="*/ 135176 w 4811308"/>
              <a:gd name="connsiteY0" fmla="*/ 7105556 h 7782125"/>
              <a:gd name="connsiteX1" fmla="*/ 336411 w 4811308"/>
              <a:gd name="connsiteY1" fmla="*/ 457582 h 7782125"/>
              <a:gd name="connsiteX2" fmla="*/ 3045763 w 4811308"/>
              <a:gd name="connsiteY2" fmla="*/ 249746 h 7782125"/>
              <a:gd name="connsiteX3" fmla="*/ 4809161 w 4811308"/>
              <a:gd name="connsiteY3" fmla="*/ 3564446 h 7782125"/>
              <a:gd name="connsiteX4" fmla="*/ 2694071 w 4811308"/>
              <a:gd name="connsiteY4" fmla="*/ 7107746 h 7782125"/>
              <a:gd name="connsiteX5" fmla="*/ 135176 w 4811308"/>
              <a:gd name="connsiteY5" fmla="*/ 7105556 h 7782125"/>
              <a:gd name="connsiteX0" fmla="*/ 157213 w 4833345"/>
              <a:gd name="connsiteY0" fmla="*/ 7115639 h 7795816"/>
              <a:gd name="connsiteX1" fmla="*/ 269163 w 4833345"/>
              <a:gd name="connsiteY1" fmla="*/ 415325 h 7795816"/>
              <a:gd name="connsiteX2" fmla="*/ 3067800 w 4833345"/>
              <a:gd name="connsiteY2" fmla="*/ 259829 h 7795816"/>
              <a:gd name="connsiteX3" fmla="*/ 4831198 w 4833345"/>
              <a:gd name="connsiteY3" fmla="*/ 3574529 h 7795816"/>
              <a:gd name="connsiteX4" fmla="*/ 2716108 w 4833345"/>
              <a:gd name="connsiteY4" fmla="*/ 7117829 h 7795816"/>
              <a:gd name="connsiteX5" fmla="*/ 157213 w 4833345"/>
              <a:gd name="connsiteY5" fmla="*/ 7115639 h 7795816"/>
              <a:gd name="connsiteX0" fmla="*/ 156353 w 4832485"/>
              <a:gd name="connsiteY0" fmla="*/ 7115639 h 7795816"/>
              <a:gd name="connsiteX1" fmla="*/ 268303 w 4832485"/>
              <a:gd name="connsiteY1" fmla="*/ 415325 h 7795816"/>
              <a:gd name="connsiteX2" fmla="*/ 3066940 w 4832485"/>
              <a:gd name="connsiteY2" fmla="*/ 259829 h 7795816"/>
              <a:gd name="connsiteX3" fmla="*/ 4830338 w 4832485"/>
              <a:gd name="connsiteY3" fmla="*/ 3574529 h 7795816"/>
              <a:gd name="connsiteX4" fmla="*/ 2715248 w 4832485"/>
              <a:gd name="connsiteY4" fmla="*/ 7117829 h 7795816"/>
              <a:gd name="connsiteX5" fmla="*/ 156353 w 4832485"/>
              <a:gd name="connsiteY5" fmla="*/ 7115639 h 7795816"/>
              <a:gd name="connsiteX0" fmla="*/ 162218 w 4838350"/>
              <a:gd name="connsiteY0" fmla="*/ 7153758 h 7845421"/>
              <a:gd name="connsiteX1" fmla="*/ 252617 w 4838350"/>
              <a:gd name="connsiteY1" fmla="*/ 287189 h 7845421"/>
              <a:gd name="connsiteX2" fmla="*/ 3072805 w 4838350"/>
              <a:gd name="connsiteY2" fmla="*/ 297948 h 7845421"/>
              <a:gd name="connsiteX3" fmla="*/ 4836203 w 4838350"/>
              <a:gd name="connsiteY3" fmla="*/ 3612648 h 7845421"/>
              <a:gd name="connsiteX4" fmla="*/ 2721113 w 4838350"/>
              <a:gd name="connsiteY4" fmla="*/ 7155948 h 7845421"/>
              <a:gd name="connsiteX5" fmla="*/ 162218 w 4838350"/>
              <a:gd name="connsiteY5" fmla="*/ 7153758 h 7845421"/>
              <a:gd name="connsiteX0" fmla="*/ 162218 w 4838350"/>
              <a:gd name="connsiteY0" fmla="*/ 7127231 h 7811232"/>
              <a:gd name="connsiteX1" fmla="*/ 252617 w 4838350"/>
              <a:gd name="connsiteY1" fmla="*/ 371498 h 7811232"/>
              <a:gd name="connsiteX2" fmla="*/ 3072805 w 4838350"/>
              <a:gd name="connsiteY2" fmla="*/ 271421 h 7811232"/>
              <a:gd name="connsiteX3" fmla="*/ 4836203 w 4838350"/>
              <a:gd name="connsiteY3" fmla="*/ 3586121 h 7811232"/>
              <a:gd name="connsiteX4" fmla="*/ 2721113 w 4838350"/>
              <a:gd name="connsiteY4" fmla="*/ 7129421 h 7811232"/>
              <a:gd name="connsiteX5" fmla="*/ 162218 w 4838350"/>
              <a:gd name="connsiteY5" fmla="*/ 7127231 h 7811232"/>
              <a:gd name="connsiteX0" fmla="*/ 169100 w 4845232"/>
              <a:gd name="connsiteY0" fmla="*/ 7127237 h 7811238"/>
              <a:gd name="connsiteX1" fmla="*/ 259499 w 4845232"/>
              <a:gd name="connsiteY1" fmla="*/ 371504 h 7811238"/>
              <a:gd name="connsiteX2" fmla="*/ 3079687 w 4845232"/>
              <a:gd name="connsiteY2" fmla="*/ 271427 h 7811238"/>
              <a:gd name="connsiteX3" fmla="*/ 4843085 w 4845232"/>
              <a:gd name="connsiteY3" fmla="*/ 3586127 h 7811238"/>
              <a:gd name="connsiteX4" fmla="*/ 2727995 w 4845232"/>
              <a:gd name="connsiteY4" fmla="*/ 7129427 h 7811238"/>
              <a:gd name="connsiteX5" fmla="*/ 169100 w 4845232"/>
              <a:gd name="connsiteY5" fmla="*/ 7127237 h 7811238"/>
              <a:gd name="connsiteX0" fmla="*/ 219843 w 4895975"/>
              <a:gd name="connsiteY0" fmla="*/ 7118137 h 7799163"/>
              <a:gd name="connsiteX1" fmla="*/ 162460 w 4895975"/>
              <a:gd name="connsiteY1" fmla="*/ 405507 h 7799163"/>
              <a:gd name="connsiteX2" fmla="*/ 3130430 w 4895975"/>
              <a:gd name="connsiteY2" fmla="*/ 262327 h 7799163"/>
              <a:gd name="connsiteX3" fmla="*/ 4893828 w 4895975"/>
              <a:gd name="connsiteY3" fmla="*/ 3577027 h 7799163"/>
              <a:gd name="connsiteX4" fmla="*/ 2778738 w 4895975"/>
              <a:gd name="connsiteY4" fmla="*/ 7120327 h 7799163"/>
              <a:gd name="connsiteX5" fmla="*/ 219843 w 4895975"/>
              <a:gd name="connsiteY5" fmla="*/ 7118137 h 7799163"/>
              <a:gd name="connsiteX0" fmla="*/ 202277 w 4878409"/>
              <a:gd name="connsiteY0" fmla="*/ 7113808 h 7793348"/>
              <a:gd name="connsiteX1" fmla="*/ 191076 w 4878409"/>
              <a:gd name="connsiteY1" fmla="*/ 422730 h 7793348"/>
              <a:gd name="connsiteX2" fmla="*/ 3112864 w 4878409"/>
              <a:gd name="connsiteY2" fmla="*/ 257998 h 7793348"/>
              <a:gd name="connsiteX3" fmla="*/ 4876262 w 4878409"/>
              <a:gd name="connsiteY3" fmla="*/ 3572698 h 7793348"/>
              <a:gd name="connsiteX4" fmla="*/ 2761172 w 4878409"/>
              <a:gd name="connsiteY4" fmla="*/ 7115998 h 7793348"/>
              <a:gd name="connsiteX5" fmla="*/ 202277 w 4878409"/>
              <a:gd name="connsiteY5" fmla="*/ 7113808 h 7793348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85583 w 4761715"/>
              <a:gd name="connsiteY0" fmla="*/ 7107672 h 7785019"/>
              <a:gd name="connsiteX1" fmla="*/ 82333 w 4761715"/>
              <a:gd name="connsiteY1" fmla="*/ 448399 h 7785019"/>
              <a:gd name="connsiteX2" fmla="*/ 2996170 w 4761715"/>
              <a:gd name="connsiteY2" fmla="*/ 251862 h 7785019"/>
              <a:gd name="connsiteX3" fmla="*/ 4759568 w 4761715"/>
              <a:gd name="connsiteY3" fmla="*/ 3566562 h 7785019"/>
              <a:gd name="connsiteX4" fmla="*/ 2644478 w 4761715"/>
              <a:gd name="connsiteY4" fmla="*/ 7109862 h 7785019"/>
              <a:gd name="connsiteX5" fmla="*/ 85583 w 4761715"/>
              <a:gd name="connsiteY5" fmla="*/ 7107672 h 7785019"/>
              <a:gd name="connsiteX0" fmla="*/ 85583 w 4761715"/>
              <a:gd name="connsiteY0" fmla="*/ 7074631 h 7751978"/>
              <a:gd name="connsiteX1" fmla="*/ 82333 w 4761715"/>
              <a:gd name="connsiteY1" fmla="*/ 415358 h 7751978"/>
              <a:gd name="connsiteX2" fmla="*/ 2996170 w 4761715"/>
              <a:gd name="connsiteY2" fmla="*/ 218821 h 7751978"/>
              <a:gd name="connsiteX3" fmla="*/ 4759568 w 4761715"/>
              <a:gd name="connsiteY3" fmla="*/ 3533521 h 7751978"/>
              <a:gd name="connsiteX4" fmla="*/ 2644478 w 4761715"/>
              <a:gd name="connsiteY4" fmla="*/ 7076821 h 7751978"/>
              <a:gd name="connsiteX5" fmla="*/ 85583 w 4761715"/>
              <a:gd name="connsiteY5" fmla="*/ 7074631 h 7751978"/>
              <a:gd name="connsiteX0" fmla="*/ 157610 w 4833742"/>
              <a:gd name="connsiteY0" fmla="*/ 7074631 h 7751978"/>
              <a:gd name="connsiteX1" fmla="*/ 154360 w 4833742"/>
              <a:gd name="connsiteY1" fmla="*/ 415358 h 7751978"/>
              <a:gd name="connsiteX2" fmla="*/ 3068197 w 4833742"/>
              <a:gd name="connsiteY2" fmla="*/ 218821 h 7751978"/>
              <a:gd name="connsiteX3" fmla="*/ 4831595 w 4833742"/>
              <a:gd name="connsiteY3" fmla="*/ 3533521 h 7751978"/>
              <a:gd name="connsiteX4" fmla="*/ 2716505 w 4833742"/>
              <a:gd name="connsiteY4" fmla="*/ 7076821 h 7751978"/>
              <a:gd name="connsiteX5" fmla="*/ 157610 w 4833742"/>
              <a:gd name="connsiteY5" fmla="*/ 7074631 h 7751978"/>
              <a:gd name="connsiteX0" fmla="*/ 345911 w 5022043"/>
              <a:gd name="connsiteY0" fmla="*/ 7098958 h 7776305"/>
              <a:gd name="connsiteX1" fmla="*/ 342661 w 5022043"/>
              <a:gd name="connsiteY1" fmla="*/ 439685 h 7776305"/>
              <a:gd name="connsiteX2" fmla="*/ 3256498 w 5022043"/>
              <a:gd name="connsiteY2" fmla="*/ 243148 h 7776305"/>
              <a:gd name="connsiteX3" fmla="*/ 5019896 w 5022043"/>
              <a:gd name="connsiteY3" fmla="*/ 3557848 h 7776305"/>
              <a:gd name="connsiteX4" fmla="*/ 2904806 w 5022043"/>
              <a:gd name="connsiteY4" fmla="*/ 7101148 h 7776305"/>
              <a:gd name="connsiteX5" fmla="*/ 345911 w 5022043"/>
              <a:gd name="connsiteY5" fmla="*/ 7098958 h 7776305"/>
              <a:gd name="connsiteX0" fmla="*/ 190117 w 4866249"/>
              <a:gd name="connsiteY0" fmla="*/ 7193225 h 7870572"/>
              <a:gd name="connsiteX1" fmla="*/ 186867 w 4866249"/>
              <a:gd name="connsiteY1" fmla="*/ 533952 h 7870572"/>
              <a:gd name="connsiteX2" fmla="*/ 3100704 w 4866249"/>
              <a:gd name="connsiteY2" fmla="*/ 337415 h 7870572"/>
              <a:gd name="connsiteX3" fmla="*/ 4864102 w 4866249"/>
              <a:gd name="connsiteY3" fmla="*/ 3652115 h 7870572"/>
              <a:gd name="connsiteX4" fmla="*/ 2749012 w 4866249"/>
              <a:gd name="connsiteY4" fmla="*/ 7195415 h 7870572"/>
              <a:gd name="connsiteX5" fmla="*/ 190117 w 4866249"/>
              <a:gd name="connsiteY5" fmla="*/ 7193225 h 7870572"/>
              <a:gd name="connsiteX0" fmla="*/ 188894 w 4865026"/>
              <a:gd name="connsiteY0" fmla="*/ 7274677 h 7967496"/>
              <a:gd name="connsiteX1" fmla="*/ 189317 w 4865026"/>
              <a:gd name="connsiteY1" fmla="*/ 391394 h 7967496"/>
              <a:gd name="connsiteX2" fmla="*/ 3099481 w 4865026"/>
              <a:gd name="connsiteY2" fmla="*/ 418867 h 7967496"/>
              <a:gd name="connsiteX3" fmla="*/ 4862879 w 4865026"/>
              <a:gd name="connsiteY3" fmla="*/ 3733567 h 7967496"/>
              <a:gd name="connsiteX4" fmla="*/ 2747789 w 4865026"/>
              <a:gd name="connsiteY4" fmla="*/ 7276867 h 7967496"/>
              <a:gd name="connsiteX5" fmla="*/ 188894 w 4865026"/>
              <a:gd name="connsiteY5" fmla="*/ 7274677 h 7967496"/>
              <a:gd name="connsiteX0" fmla="*/ 192591 w 4868723"/>
              <a:gd name="connsiteY0" fmla="*/ 7277850 h 7971178"/>
              <a:gd name="connsiteX1" fmla="*/ 181997 w 4868723"/>
              <a:gd name="connsiteY1" fmla="*/ 387222 h 7971178"/>
              <a:gd name="connsiteX2" fmla="*/ 3103178 w 4868723"/>
              <a:gd name="connsiteY2" fmla="*/ 422040 h 7971178"/>
              <a:gd name="connsiteX3" fmla="*/ 4866576 w 4868723"/>
              <a:gd name="connsiteY3" fmla="*/ 3736740 h 7971178"/>
              <a:gd name="connsiteX4" fmla="*/ 2751486 w 4868723"/>
              <a:gd name="connsiteY4" fmla="*/ 7280040 h 7971178"/>
              <a:gd name="connsiteX5" fmla="*/ 192591 w 4868723"/>
              <a:gd name="connsiteY5" fmla="*/ 7277850 h 7971178"/>
              <a:gd name="connsiteX0" fmla="*/ 193427 w 4869559"/>
              <a:gd name="connsiteY0" fmla="*/ 7163116 h 7856444"/>
              <a:gd name="connsiteX1" fmla="*/ 182833 w 4869559"/>
              <a:gd name="connsiteY1" fmla="*/ 272488 h 7856444"/>
              <a:gd name="connsiteX2" fmla="*/ 3104014 w 4869559"/>
              <a:gd name="connsiteY2" fmla="*/ 307306 h 7856444"/>
              <a:gd name="connsiteX3" fmla="*/ 4867412 w 4869559"/>
              <a:gd name="connsiteY3" fmla="*/ 3622006 h 7856444"/>
              <a:gd name="connsiteX4" fmla="*/ 2752322 w 4869559"/>
              <a:gd name="connsiteY4" fmla="*/ 7165306 h 7856444"/>
              <a:gd name="connsiteX5" fmla="*/ 193427 w 4869559"/>
              <a:gd name="connsiteY5" fmla="*/ 7163116 h 7856444"/>
              <a:gd name="connsiteX0" fmla="*/ 170155 w 4846287"/>
              <a:gd name="connsiteY0" fmla="*/ 7143047 h 7831040"/>
              <a:gd name="connsiteX1" fmla="*/ 233007 w 4846287"/>
              <a:gd name="connsiteY1" fmla="*/ 329537 h 7831040"/>
              <a:gd name="connsiteX2" fmla="*/ 3080742 w 4846287"/>
              <a:gd name="connsiteY2" fmla="*/ 287237 h 7831040"/>
              <a:gd name="connsiteX3" fmla="*/ 4844140 w 4846287"/>
              <a:gd name="connsiteY3" fmla="*/ 3601937 h 7831040"/>
              <a:gd name="connsiteX4" fmla="*/ 2729050 w 4846287"/>
              <a:gd name="connsiteY4" fmla="*/ 7145237 h 7831040"/>
              <a:gd name="connsiteX5" fmla="*/ 170155 w 4846287"/>
              <a:gd name="connsiteY5" fmla="*/ 7143047 h 7831040"/>
              <a:gd name="connsiteX0" fmla="*/ 188486 w 4864618"/>
              <a:gd name="connsiteY0" fmla="*/ 7162098 h 7855172"/>
              <a:gd name="connsiteX1" fmla="*/ 192581 w 4864618"/>
              <a:gd name="connsiteY1" fmla="*/ 275143 h 7855172"/>
              <a:gd name="connsiteX2" fmla="*/ 3099073 w 4864618"/>
              <a:gd name="connsiteY2" fmla="*/ 306288 h 7855172"/>
              <a:gd name="connsiteX3" fmla="*/ 4862471 w 4864618"/>
              <a:gd name="connsiteY3" fmla="*/ 3620988 h 7855172"/>
              <a:gd name="connsiteX4" fmla="*/ 2747381 w 4864618"/>
              <a:gd name="connsiteY4" fmla="*/ 7164288 h 7855172"/>
              <a:gd name="connsiteX5" fmla="*/ 188486 w 4864618"/>
              <a:gd name="connsiteY5" fmla="*/ 7162098 h 785517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181559 h 7874633"/>
              <a:gd name="connsiteX1" fmla="*/ 344138 w 5016181"/>
              <a:gd name="connsiteY1" fmla="*/ 294604 h 7874633"/>
              <a:gd name="connsiteX2" fmla="*/ 3254303 w 5016181"/>
              <a:gd name="connsiteY2" fmla="*/ 296371 h 7874633"/>
              <a:gd name="connsiteX3" fmla="*/ 5014028 w 5016181"/>
              <a:gd name="connsiteY3" fmla="*/ 3640449 h 7874633"/>
              <a:gd name="connsiteX4" fmla="*/ 2898938 w 5016181"/>
              <a:gd name="connsiteY4" fmla="*/ 7183749 h 7874633"/>
              <a:gd name="connsiteX5" fmla="*/ 340043 w 5016181"/>
              <a:gd name="connsiteY5" fmla="*/ 7181559 h 7874633"/>
              <a:gd name="connsiteX0" fmla="*/ 340043 w 5016181"/>
              <a:gd name="connsiteY0" fmla="*/ 7183197 h 7876271"/>
              <a:gd name="connsiteX1" fmla="*/ 344138 w 5016181"/>
              <a:gd name="connsiteY1" fmla="*/ 296242 h 7876271"/>
              <a:gd name="connsiteX2" fmla="*/ 3254303 w 5016181"/>
              <a:gd name="connsiteY2" fmla="*/ 298009 h 7876271"/>
              <a:gd name="connsiteX3" fmla="*/ 5014028 w 5016181"/>
              <a:gd name="connsiteY3" fmla="*/ 3642087 h 7876271"/>
              <a:gd name="connsiteX4" fmla="*/ 2898938 w 5016181"/>
              <a:gd name="connsiteY4" fmla="*/ 7185387 h 7876271"/>
              <a:gd name="connsiteX5" fmla="*/ 340043 w 5016181"/>
              <a:gd name="connsiteY5" fmla="*/ 7183197 h 7876271"/>
              <a:gd name="connsiteX0" fmla="*/ 340043 w 5016181"/>
              <a:gd name="connsiteY0" fmla="*/ 7184031 h 7877324"/>
              <a:gd name="connsiteX1" fmla="*/ 344138 w 5016181"/>
              <a:gd name="connsiteY1" fmla="*/ 293901 h 7877324"/>
              <a:gd name="connsiteX2" fmla="*/ 3254303 w 5016181"/>
              <a:gd name="connsiteY2" fmla="*/ 298843 h 7877324"/>
              <a:gd name="connsiteX3" fmla="*/ 5014028 w 5016181"/>
              <a:gd name="connsiteY3" fmla="*/ 3642921 h 7877324"/>
              <a:gd name="connsiteX4" fmla="*/ 2898938 w 5016181"/>
              <a:gd name="connsiteY4" fmla="*/ 7186221 h 7877324"/>
              <a:gd name="connsiteX5" fmla="*/ 340043 w 5016181"/>
              <a:gd name="connsiteY5" fmla="*/ 7184031 h 7877324"/>
              <a:gd name="connsiteX0" fmla="*/ 338200 w 5014338"/>
              <a:gd name="connsiteY0" fmla="*/ 7184031 h 7877324"/>
              <a:gd name="connsiteX1" fmla="*/ 345470 w 5014338"/>
              <a:gd name="connsiteY1" fmla="*/ 293901 h 7877324"/>
              <a:gd name="connsiteX2" fmla="*/ 3252460 w 5014338"/>
              <a:gd name="connsiteY2" fmla="*/ 298843 h 7877324"/>
              <a:gd name="connsiteX3" fmla="*/ 5012185 w 5014338"/>
              <a:gd name="connsiteY3" fmla="*/ 3642921 h 7877324"/>
              <a:gd name="connsiteX4" fmla="*/ 2897095 w 5014338"/>
              <a:gd name="connsiteY4" fmla="*/ 7186221 h 7877324"/>
              <a:gd name="connsiteX5" fmla="*/ 338200 w 5014338"/>
              <a:gd name="connsiteY5" fmla="*/ 7184031 h 7877324"/>
              <a:gd name="connsiteX0" fmla="*/ 338200 w 5014338"/>
              <a:gd name="connsiteY0" fmla="*/ 7183318 h 7876611"/>
              <a:gd name="connsiteX1" fmla="*/ 345470 w 5014338"/>
              <a:gd name="connsiteY1" fmla="*/ 293188 h 7876611"/>
              <a:gd name="connsiteX2" fmla="*/ 3252460 w 5014338"/>
              <a:gd name="connsiteY2" fmla="*/ 298130 h 7876611"/>
              <a:gd name="connsiteX3" fmla="*/ 5012185 w 5014338"/>
              <a:gd name="connsiteY3" fmla="*/ 3642208 h 7876611"/>
              <a:gd name="connsiteX4" fmla="*/ 2897095 w 5014338"/>
              <a:gd name="connsiteY4" fmla="*/ 7185508 h 7876611"/>
              <a:gd name="connsiteX5" fmla="*/ 338200 w 5014338"/>
              <a:gd name="connsiteY5" fmla="*/ 7183318 h 7876611"/>
              <a:gd name="connsiteX0" fmla="*/ 189227 w 4865365"/>
              <a:gd name="connsiteY0" fmla="*/ 7183318 h 7876611"/>
              <a:gd name="connsiteX1" fmla="*/ 196497 w 4865365"/>
              <a:gd name="connsiteY1" fmla="*/ 293188 h 7876611"/>
              <a:gd name="connsiteX2" fmla="*/ 3103487 w 4865365"/>
              <a:gd name="connsiteY2" fmla="*/ 298130 h 7876611"/>
              <a:gd name="connsiteX3" fmla="*/ 4863212 w 4865365"/>
              <a:gd name="connsiteY3" fmla="*/ 3642208 h 7876611"/>
              <a:gd name="connsiteX4" fmla="*/ 2748122 w 4865365"/>
              <a:gd name="connsiteY4" fmla="*/ 7185508 h 7876611"/>
              <a:gd name="connsiteX5" fmla="*/ 189227 w 4865365"/>
              <a:gd name="connsiteY5" fmla="*/ 7183318 h 7876611"/>
              <a:gd name="connsiteX0" fmla="*/ 192432 w 4868570"/>
              <a:gd name="connsiteY0" fmla="*/ 7183318 h 7876611"/>
              <a:gd name="connsiteX1" fmla="*/ 190177 w 4868570"/>
              <a:gd name="connsiteY1" fmla="*/ 293188 h 7876611"/>
              <a:gd name="connsiteX2" fmla="*/ 3106692 w 4868570"/>
              <a:gd name="connsiteY2" fmla="*/ 298130 h 7876611"/>
              <a:gd name="connsiteX3" fmla="*/ 4866417 w 4868570"/>
              <a:gd name="connsiteY3" fmla="*/ 3642208 h 7876611"/>
              <a:gd name="connsiteX4" fmla="*/ 2751327 w 4868570"/>
              <a:gd name="connsiteY4" fmla="*/ 7185508 h 7876611"/>
              <a:gd name="connsiteX5" fmla="*/ 192432 w 4868570"/>
              <a:gd name="connsiteY5" fmla="*/ 7183318 h 7876611"/>
              <a:gd name="connsiteX0" fmla="*/ 190287 w 4866425"/>
              <a:gd name="connsiteY0" fmla="*/ 7183318 h 7876611"/>
              <a:gd name="connsiteX1" fmla="*/ 188032 w 4866425"/>
              <a:gd name="connsiteY1" fmla="*/ 293188 h 7876611"/>
              <a:gd name="connsiteX2" fmla="*/ 3104547 w 4866425"/>
              <a:gd name="connsiteY2" fmla="*/ 298130 h 7876611"/>
              <a:gd name="connsiteX3" fmla="*/ 4864272 w 4866425"/>
              <a:gd name="connsiteY3" fmla="*/ 3642208 h 7876611"/>
              <a:gd name="connsiteX4" fmla="*/ 2749182 w 4866425"/>
              <a:gd name="connsiteY4" fmla="*/ 7185508 h 7876611"/>
              <a:gd name="connsiteX5" fmla="*/ 190287 w 4866425"/>
              <a:gd name="connsiteY5" fmla="*/ 7183318 h 7876611"/>
              <a:gd name="connsiteX0" fmla="*/ 190287 w 4866425"/>
              <a:gd name="connsiteY0" fmla="*/ 7154743 h 7859802"/>
              <a:gd name="connsiteX1" fmla="*/ 188032 w 4866425"/>
              <a:gd name="connsiteY1" fmla="*/ 293188 h 7859802"/>
              <a:gd name="connsiteX2" fmla="*/ 3104547 w 4866425"/>
              <a:gd name="connsiteY2" fmla="*/ 298130 h 7859802"/>
              <a:gd name="connsiteX3" fmla="*/ 4864272 w 4866425"/>
              <a:gd name="connsiteY3" fmla="*/ 3642208 h 7859802"/>
              <a:gd name="connsiteX4" fmla="*/ 2749182 w 4866425"/>
              <a:gd name="connsiteY4" fmla="*/ 7185508 h 7859802"/>
              <a:gd name="connsiteX5" fmla="*/ 190287 w 4866425"/>
              <a:gd name="connsiteY5" fmla="*/ 7154743 h 7859802"/>
              <a:gd name="connsiteX0" fmla="*/ 2255 w 4678393"/>
              <a:gd name="connsiteY0" fmla="*/ 7154743 h 7872894"/>
              <a:gd name="connsiteX1" fmla="*/ 0 w 4678393"/>
              <a:gd name="connsiteY1" fmla="*/ 293188 h 7872894"/>
              <a:gd name="connsiteX2" fmla="*/ 2916515 w 4678393"/>
              <a:gd name="connsiteY2" fmla="*/ 298130 h 7872894"/>
              <a:gd name="connsiteX3" fmla="*/ 4676240 w 4678393"/>
              <a:gd name="connsiteY3" fmla="*/ 3642208 h 7872894"/>
              <a:gd name="connsiteX4" fmla="*/ 2561150 w 4678393"/>
              <a:gd name="connsiteY4" fmla="*/ 7185508 h 7872894"/>
              <a:gd name="connsiteX5" fmla="*/ 2255 w 4678393"/>
              <a:gd name="connsiteY5" fmla="*/ 7154743 h 7872894"/>
              <a:gd name="connsiteX0" fmla="*/ 2822 w 4678960"/>
              <a:gd name="connsiteY0" fmla="*/ 7154743 h 7874206"/>
              <a:gd name="connsiteX1" fmla="*/ 567 w 4678960"/>
              <a:gd name="connsiteY1" fmla="*/ 293188 h 7874206"/>
              <a:gd name="connsiteX2" fmla="*/ 2917082 w 4678960"/>
              <a:gd name="connsiteY2" fmla="*/ 298130 h 7874206"/>
              <a:gd name="connsiteX3" fmla="*/ 4676807 w 4678960"/>
              <a:gd name="connsiteY3" fmla="*/ 3642208 h 7874206"/>
              <a:gd name="connsiteX4" fmla="*/ 2561717 w 4678960"/>
              <a:gd name="connsiteY4" fmla="*/ 7185508 h 7874206"/>
              <a:gd name="connsiteX5" fmla="*/ 2822 w 4678960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473936"/>
              <a:gd name="connsiteX1" fmla="*/ 0 w 4678393"/>
              <a:gd name="connsiteY1" fmla="*/ 293188 h 7473936"/>
              <a:gd name="connsiteX2" fmla="*/ 2916515 w 4678393"/>
              <a:gd name="connsiteY2" fmla="*/ 298130 h 7473936"/>
              <a:gd name="connsiteX3" fmla="*/ 4676240 w 4678393"/>
              <a:gd name="connsiteY3" fmla="*/ 3642208 h 7473936"/>
              <a:gd name="connsiteX4" fmla="*/ 2561150 w 4678393"/>
              <a:gd name="connsiteY4" fmla="*/ 7185508 h 7473936"/>
              <a:gd name="connsiteX5" fmla="*/ 2255 w 4678393"/>
              <a:gd name="connsiteY5" fmla="*/ 7154743 h 7473936"/>
              <a:gd name="connsiteX0" fmla="*/ 2255 w 4678393"/>
              <a:gd name="connsiteY0" fmla="*/ 7154743 h 7450206"/>
              <a:gd name="connsiteX1" fmla="*/ 0 w 4678393"/>
              <a:gd name="connsiteY1" fmla="*/ 293188 h 7450206"/>
              <a:gd name="connsiteX2" fmla="*/ 2916515 w 4678393"/>
              <a:gd name="connsiteY2" fmla="*/ 298130 h 7450206"/>
              <a:gd name="connsiteX3" fmla="*/ 4676240 w 4678393"/>
              <a:gd name="connsiteY3" fmla="*/ 3642208 h 7450206"/>
              <a:gd name="connsiteX4" fmla="*/ 2564325 w 4678393"/>
              <a:gd name="connsiteY4" fmla="*/ 7153758 h 7450206"/>
              <a:gd name="connsiteX5" fmla="*/ 2255 w 4678393"/>
              <a:gd name="connsiteY5" fmla="*/ 7154743 h 7450206"/>
              <a:gd name="connsiteX0" fmla="*/ 2255 w 4678393"/>
              <a:gd name="connsiteY0" fmla="*/ 7154743 h 7154743"/>
              <a:gd name="connsiteX1" fmla="*/ 0 w 4678393"/>
              <a:gd name="connsiteY1" fmla="*/ 293188 h 7154743"/>
              <a:gd name="connsiteX2" fmla="*/ 2916515 w 4678393"/>
              <a:gd name="connsiteY2" fmla="*/ 298130 h 7154743"/>
              <a:gd name="connsiteX3" fmla="*/ 4676240 w 4678393"/>
              <a:gd name="connsiteY3" fmla="*/ 3642208 h 7154743"/>
              <a:gd name="connsiteX4" fmla="*/ 2564325 w 4678393"/>
              <a:gd name="connsiteY4" fmla="*/ 7153758 h 7154743"/>
              <a:gd name="connsiteX5" fmla="*/ 2255 w 4678393"/>
              <a:gd name="connsiteY5" fmla="*/ 7154743 h 7154743"/>
              <a:gd name="connsiteX0" fmla="*/ 2255 w 4678393"/>
              <a:gd name="connsiteY0" fmla="*/ 6861555 h 6861555"/>
              <a:gd name="connsiteX1" fmla="*/ 0 w 4678393"/>
              <a:gd name="connsiteY1" fmla="*/ 0 h 6861555"/>
              <a:gd name="connsiteX2" fmla="*/ 2916515 w 4678393"/>
              <a:gd name="connsiteY2" fmla="*/ 4942 h 6861555"/>
              <a:gd name="connsiteX3" fmla="*/ 4676240 w 4678393"/>
              <a:gd name="connsiteY3" fmla="*/ 3349020 h 6861555"/>
              <a:gd name="connsiteX4" fmla="*/ 2564325 w 4678393"/>
              <a:gd name="connsiteY4" fmla="*/ 6860570 h 6861555"/>
              <a:gd name="connsiteX5" fmla="*/ 2255 w 4678393"/>
              <a:gd name="connsiteY5" fmla="*/ 6861555 h 6861555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9009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8377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3061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71578"/>
              <a:gd name="connsiteX1" fmla="*/ 0 w 4678399"/>
              <a:gd name="connsiteY1" fmla="*/ 1408 h 6871578"/>
              <a:gd name="connsiteX2" fmla="*/ 2919690 w 4678399"/>
              <a:gd name="connsiteY2" fmla="*/ 0 h 6871578"/>
              <a:gd name="connsiteX3" fmla="*/ 4676240 w 4678399"/>
              <a:gd name="connsiteY3" fmla="*/ 3350428 h 6871578"/>
              <a:gd name="connsiteX4" fmla="*/ 2521796 w 4678399"/>
              <a:gd name="connsiteY4" fmla="*/ 6871578 h 6871578"/>
              <a:gd name="connsiteX5" fmla="*/ 2255 w 4678399"/>
              <a:gd name="connsiteY5" fmla="*/ 6862963 h 6871578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6240" h="6862963">
                <a:moveTo>
                  <a:pt x="2255" y="6862963"/>
                </a:moveTo>
                <a:cubicBezTo>
                  <a:pt x="847" y="5679318"/>
                  <a:pt x="65" y="1117189"/>
                  <a:pt x="0" y="1408"/>
                </a:cubicBezTo>
                <a:lnTo>
                  <a:pt x="2919690" y="0"/>
                </a:lnTo>
                <a:cubicBezTo>
                  <a:pt x="3347209" y="321191"/>
                  <a:pt x="4644479" y="1245147"/>
                  <a:pt x="4676240" y="3350428"/>
                </a:cubicBezTo>
                <a:cubicBezTo>
                  <a:pt x="4625578" y="5097946"/>
                  <a:pt x="3667890" y="6255680"/>
                  <a:pt x="2516480" y="6860945"/>
                </a:cubicBezTo>
                <a:lnTo>
                  <a:pt x="2255" y="6862963"/>
                </a:lnTo>
                <a:close/>
              </a:path>
            </a:pathLst>
          </a:custGeom>
          <a:ln>
            <a:noFill/>
          </a:ln>
          <a:extLst>
            <a:ext uri="{91240B29-F687-4f45-9708-019B960494DF}"/>
          </a:extLst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8461" y="110949"/>
            <a:ext cx="6882540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28461" y="1533600"/>
            <a:ext cx="688254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928461" y="2174400"/>
            <a:ext cx="688254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4354844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2585" y="110949"/>
            <a:ext cx="7138416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72585" y="1533600"/>
            <a:ext cx="713841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72585" y="2174400"/>
            <a:ext cx="7138416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3CA72A1A-CDA5-9A46-A824-8BA40A7BC7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301067" cy="68580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01619572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0043273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091988" y="0"/>
            <a:ext cx="128587" cy="145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008292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81000" y="1601788"/>
            <a:ext cx="11430000" cy="4525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61993239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789884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F9D744F-A08B-5145-BBEA-D42E6BD319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" y="1533600"/>
            <a:ext cx="4430684" cy="44306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4823833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8"/>
          <p:cNvSpPr/>
          <p:nvPr userDrawn="1"/>
        </p:nvSpPr>
        <p:spPr bwMode="ltGray">
          <a:xfrm>
            <a:off x="385763" y="4437063"/>
            <a:ext cx="11806237" cy="1747837"/>
          </a:xfrm>
          <a:prstGeom prst="roundRect">
            <a:avLst>
              <a:gd name="adj" fmla="val 3574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5" name="Picture 5" descr="new-idexx-color-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275" y="5191125"/>
            <a:ext cx="13049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 bwMode="auto">
          <a:xfrm>
            <a:off x="12109450" y="4437063"/>
            <a:ext cx="82550" cy="174625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2203703" y="5631752"/>
            <a:ext cx="9601200" cy="464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itle 32"/>
          <p:cNvSpPr>
            <a:spLocks noGrp="1"/>
          </p:cNvSpPr>
          <p:nvPr>
            <p:ph type="title"/>
          </p:nvPr>
        </p:nvSpPr>
        <p:spPr>
          <a:xfrm>
            <a:off x="2203703" y="4555070"/>
            <a:ext cx="9601200" cy="1076685"/>
          </a:xfrm>
          <a:prstGeom prst="rect">
            <a:avLst/>
          </a:prstGeom>
        </p:spPr>
        <p:txBody>
          <a:bodyPr vert="horz" anchor="b"/>
          <a:lstStyle>
            <a:lvl1pPr algn="l">
              <a:defRPr sz="3200" baseline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8549983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5868DF8-0066-C04C-B523-8450D0A451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533600"/>
            <a:ext cx="560134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D81E9A-BFAC-2649-8EA2-1E71B0607B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2174400"/>
            <a:ext cx="5601346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AB4DA10-386C-0E45-8192-A2D9EB1279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9322" y="1534150"/>
            <a:ext cx="5611678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BA2A10C-A80A-324D-B7BC-4A1C81054B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9322" y="2174950"/>
            <a:ext cx="5611678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69428173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381000" y="1533600"/>
            <a:ext cx="4590288" cy="4593600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20313849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 bwMode="ltGray">
          <a:xfrm>
            <a:off x="0" y="-9254"/>
            <a:ext cx="4672584" cy="6867254"/>
          </a:xfrm>
          <a:custGeom>
            <a:avLst/>
            <a:gdLst>
              <a:gd name="connsiteX0" fmla="*/ 0 w 8001000"/>
              <a:gd name="connsiteY0" fmla="*/ 4000500 h 8001000"/>
              <a:gd name="connsiteX1" fmla="*/ 4000500 w 8001000"/>
              <a:gd name="connsiteY1" fmla="*/ 0 h 8001000"/>
              <a:gd name="connsiteX2" fmla="*/ 8001000 w 8001000"/>
              <a:gd name="connsiteY2" fmla="*/ 4000500 h 8001000"/>
              <a:gd name="connsiteX3" fmla="*/ 4000500 w 8001000"/>
              <a:gd name="connsiteY3" fmla="*/ 8001000 h 8001000"/>
              <a:gd name="connsiteX4" fmla="*/ 0 w 8001000"/>
              <a:gd name="connsiteY4" fmla="*/ 4000500 h 8001000"/>
              <a:gd name="connsiteX0" fmla="*/ 0 w 8060683"/>
              <a:gd name="connsiteY0" fmla="*/ 4222799 h 8223299"/>
              <a:gd name="connsiteX1" fmla="*/ 4000500 w 8060683"/>
              <a:gd name="connsiteY1" fmla="*/ 222299 h 8223299"/>
              <a:gd name="connsiteX2" fmla="*/ 6237602 w 8060683"/>
              <a:gd name="connsiteY2" fmla="*/ 908099 h 8223299"/>
              <a:gd name="connsiteX3" fmla="*/ 8001000 w 8060683"/>
              <a:gd name="connsiteY3" fmla="*/ 4222799 h 8223299"/>
              <a:gd name="connsiteX4" fmla="*/ 4000500 w 8060683"/>
              <a:gd name="connsiteY4" fmla="*/ 8223299 h 8223299"/>
              <a:gd name="connsiteX5" fmla="*/ 0 w 8060683"/>
              <a:gd name="connsiteY5" fmla="*/ 4222799 h 8223299"/>
              <a:gd name="connsiteX0" fmla="*/ 8055 w 8068738"/>
              <a:gd name="connsiteY0" fmla="*/ 3760842 h 7761342"/>
              <a:gd name="connsiteX1" fmla="*/ 3296378 w 8068738"/>
              <a:gd name="connsiteY1" fmla="*/ 472519 h 7761342"/>
              <a:gd name="connsiteX2" fmla="*/ 6245657 w 8068738"/>
              <a:gd name="connsiteY2" fmla="*/ 446142 h 7761342"/>
              <a:gd name="connsiteX3" fmla="*/ 8009055 w 8068738"/>
              <a:gd name="connsiteY3" fmla="*/ 3760842 h 7761342"/>
              <a:gd name="connsiteX4" fmla="*/ 4008555 w 8068738"/>
              <a:gd name="connsiteY4" fmla="*/ 7761342 h 7761342"/>
              <a:gd name="connsiteX5" fmla="*/ 8055 w 8068738"/>
              <a:gd name="connsiteY5" fmla="*/ 3760842 h 7761342"/>
              <a:gd name="connsiteX0" fmla="*/ 6123 w 8066806"/>
              <a:gd name="connsiteY0" fmla="*/ 3768834 h 7769334"/>
              <a:gd name="connsiteX1" fmla="*/ 3373577 w 8066806"/>
              <a:gd name="connsiteY1" fmla="*/ 462926 h 7769334"/>
              <a:gd name="connsiteX2" fmla="*/ 6243725 w 8066806"/>
              <a:gd name="connsiteY2" fmla="*/ 454134 h 7769334"/>
              <a:gd name="connsiteX3" fmla="*/ 8007123 w 8066806"/>
              <a:gd name="connsiteY3" fmla="*/ 3768834 h 7769334"/>
              <a:gd name="connsiteX4" fmla="*/ 4006623 w 8066806"/>
              <a:gd name="connsiteY4" fmla="*/ 7769334 h 7769334"/>
              <a:gd name="connsiteX5" fmla="*/ 6123 w 8066806"/>
              <a:gd name="connsiteY5" fmla="*/ 3768834 h 7769334"/>
              <a:gd name="connsiteX0" fmla="*/ 6939 w 8067622"/>
              <a:gd name="connsiteY0" fmla="*/ 3768834 h 7769334"/>
              <a:gd name="connsiteX1" fmla="*/ 3339224 w 8067622"/>
              <a:gd name="connsiteY1" fmla="*/ 462926 h 7769334"/>
              <a:gd name="connsiteX2" fmla="*/ 6244541 w 8067622"/>
              <a:gd name="connsiteY2" fmla="*/ 454134 h 7769334"/>
              <a:gd name="connsiteX3" fmla="*/ 8007939 w 8067622"/>
              <a:gd name="connsiteY3" fmla="*/ 3768834 h 7769334"/>
              <a:gd name="connsiteX4" fmla="*/ 4007439 w 8067622"/>
              <a:gd name="connsiteY4" fmla="*/ 7769334 h 7769334"/>
              <a:gd name="connsiteX5" fmla="*/ 6939 w 8067622"/>
              <a:gd name="connsiteY5" fmla="*/ 3768834 h 7769334"/>
              <a:gd name="connsiteX0" fmla="*/ 6939 w 8010086"/>
              <a:gd name="connsiteY0" fmla="*/ 3768834 h 7984710"/>
              <a:gd name="connsiteX1" fmla="*/ 3339224 w 8010086"/>
              <a:gd name="connsiteY1" fmla="*/ 462926 h 7984710"/>
              <a:gd name="connsiteX2" fmla="*/ 6244541 w 8010086"/>
              <a:gd name="connsiteY2" fmla="*/ 454134 h 7984710"/>
              <a:gd name="connsiteX3" fmla="*/ 8007939 w 8010086"/>
              <a:gd name="connsiteY3" fmla="*/ 3768834 h 7984710"/>
              <a:gd name="connsiteX4" fmla="*/ 5892849 w 8010086"/>
              <a:gd name="connsiteY4" fmla="*/ 7057157 h 7984710"/>
              <a:gd name="connsiteX5" fmla="*/ 4007439 w 8010086"/>
              <a:gd name="connsiteY5" fmla="*/ 7769334 h 7984710"/>
              <a:gd name="connsiteX6" fmla="*/ 6939 w 8010086"/>
              <a:gd name="connsiteY6" fmla="*/ 3768834 h 7984710"/>
              <a:gd name="connsiteX0" fmla="*/ 6939 w 8010086"/>
              <a:gd name="connsiteY0" fmla="*/ 3768834 h 8061801"/>
              <a:gd name="connsiteX1" fmla="*/ 3339224 w 8010086"/>
              <a:gd name="connsiteY1" fmla="*/ 462926 h 8061801"/>
              <a:gd name="connsiteX2" fmla="*/ 6244541 w 8010086"/>
              <a:gd name="connsiteY2" fmla="*/ 454134 h 8061801"/>
              <a:gd name="connsiteX3" fmla="*/ 8007939 w 8010086"/>
              <a:gd name="connsiteY3" fmla="*/ 3768834 h 8061801"/>
              <a:gd name="connsiteX4" fmla="*/ 5892849 w 8010086"/>
              <a:gd name="connsiteY4" fmla="*/ 7312134 h 8061801"/>
              <a:gd name="connsiteX5" fmla="*/ 4007439 w 8010086"/>
              <a:gd name="connsiteY5" fmla="*/ 7769334 h 8061801"/>
              <a:gd name="connsiteX6" fmla="*/ 6939 w 8010086"/>
              <a:gd name="connsiteY6" fmla="*/ 3768834 h 8061801"/>
              <a:gd name="connsiteX0" fmla="*/ 6 w 8003153"/>
              <a:gd name="connsiteY0" fmla="*/ 3768834 h 7779879"/>
              <a:gd name="connsiteX1" fmla="*/ 3332291 w 8003153"/>
              <a:gd name="connsiteY1" fmla="*/ 462926 h 7779879"/>
              <a:gd name="connsiteX2" fmla="*/ 6237608 w 8003153"/>
              <a:gd name="connsiteY2" fmla="*/ 454134 h 7779879"/>
              <a:gd name="connsiteX3" fmla="*/ 8001006 w 8003153"/>
              <a:gd name="connsiteY3" fmla="*/ 3768834 h 7779879"/>
              <a:gd name="connsiteX4" fmla="*/ 5885916 w 8003153"/>
              <a:gd name="connsiteY4" fmla="*/ 7312134 h 7779879"/>
              <a:gd name="connsiteX5" fmla="*/ 3349875 w 8003153"/>
              <a:gd name="connsiteY5" fmla="*/ 7303342 h 7779879"/>
              <a:gd name="connsiteX6" fmla="*/ 6 w 8003153"/>
              <a:gd name="connsiteY6" fmla="*/ 3768834 h 7779879"/>
              <a:gd name="connsiteX0" fmla="*/ 3 w 8003150"/>
              <a:gd name="connsiteY0" fmla="*/ 3768834 h 7775751"/>
              <a:gd name="connsiteX1" fmla="*/ 3332288 w 8003150"/>
              <a:gd name="connsiteY1" fmla="*/ 462926 h 7775751"/>
              <a:gd name="connsiteX2" fmla="*/ 6237605 w 8003150"/>
              <a:gd name="connsiteY2" fmla="*/ 454134 h 7775751"/>
              <a:gd name="connsiteX3" fmla="*/ 8001003 w 8003150"/>
              <a:gd name="connsiteY3" fmla="*/ 3768834 h 7775751"/>
              <a:gd name="connsiteX4" fmla="*/ 5885913 w 8003150"/>
              <a:gd name="connsiteY4" fmla="*/ 7312134 h 7775751"/>
              <a:gd name="connsiteX5" fmla="*/ 3314702 w 8003150"/>
              <a:gd name="connsiteY5" fmla="*/ 7294550 h 7775751"/>
              <a:gd name="connsiteX6" fmla="*/ 3 w 8003150"/>
              <a:gd name="connsiteY6" fmla="*/ 3768834 h 77757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35777 h 7832403"/>
              <a:gd name="connsiteX1" fmla="*/ 664079 w 5334941"/>
              <a:gd name="connsiteY1" fmla="*/ 304153 h 7832403"/>
              <a:gd name="connsiteX2" fmla="*/ 3569396 w 5334941"/>
              <a:gd name="connsiteY2" fmla="*/ 295361 h 7832403"/>
              <a:gd name="connsiteX3" fmla="*/ 5332794 w 5334941"/>
              <a:gd name="connsiteY3" fmla="*/ 3610061 h 7832403"/>
              <a:gd name="connsiteX4" fmla="*/ 3217704 w 5334941"/>
              <a:gd name="connsiteY4" fmla="*/ 7153361 h 7832403"/>
              <a:gd name="connsiteX5" fmla="*/ 646493 w 5334941"/>
              <a:gd name="connsiteY5" fmla="*/ 7135777 h 7832403"/>
              <a:gd name="connsiteX0" fmla="*/ 182720 w 4871168"/>
              <a:gd name="connsiteY0" fmla="*/ 7135777 h 7832403"/>
              <a:gd name="connsiteX1" fmla="*/ 200306 w 4871168"/>
              <a:gd name="connsiteY1" fmla="*/ 304153 h 7832403"/>
              <a:gd name="connsiteX2" fmla="*/ 3105623 w 4871168"/>
              <a:gd name="connsiteY2" fmla="*/ 295361 h 7832403"/>
              <a:gd name="connsiteX3" fmla="*/ 4869021 w 4871168"/>
              <a:gd name="connsiteY3" fmla="*/ 3610061 h 7832403"/>
              <a:gd name="connsiteX4" fmla="*/ 2753931 w 4871168"/>
              <a:gd name="connsiteY4" fmla="*/ 7153361 h 7832403"/>
              <a:gd name="connsiteX5" fmla="*/ 182720 w 4871168"/>
              <a:gd name="connsiteY5" fmla="*/ 7135777 h 7832403"/>
              <a:gd name="connsiteX0" fmla="*/ 182720 w 4871168"/>
              <a:gd name="connsiteY0" fmla="*/ 7124471 h 7821097"/>
              <a:gd name="connsiteX1" fmla="*/ 200306 w 4871168"/>
              <a:gd name="connsiteY1" fmla="*/ 292847 h 7821097"/>
              <a:gd name="connsiteX2" fmla="*/ 3105623 w 4871168"/>
              <a:gd name="connsiteY2" fmla="*/ 284055 h 7821097"/>
              <a:gd name="connsiteX3" fmla="*/ 4869021 w 4871168"/>
              <a:gd name="connsiteY3" fmla="*/ 3598755 h 7821097"/>
              <a:gd name="connsiteX4" fmla="*/ 2753931 w 4871168"/>
              <a:gd name="connsiteY4" fmla="*/ 7142055 h 7821097"/>
              <a:gd name="connsiteX5" fmla="*/ 182720 w 4871168"/>
              <a:gd name="connsiteY5" fmla="*/ 7124471 h 7821097"/>
              <a:gd name="connsiteX0" fmla="*/ 182720 w 4871168"/>
              <a:gd name="connsiteY0" fmla="*/ 7133321 h 7829947"/>
              <a:gd name="connsiteX1" fmla="*/ 200306 w 4871168"/>
              <a:gd name="connsiteY1" fmla="*/ 301697 h 7829947"/>
              <a:gd name="connsiteX2" fmla="*/ 3105623 w 4871168"/>
              <a:gd name="connsiteY2" fmla="*/ 292905 h 7829947"/>
              <a:gd name="connsiteX3" fmla="*/ 4869021 w 4871168"/>
              <a:gd name="connsiteY3" fmla="*/ 3607605 h 7829947"/>
              <a:gd name="connsiteX4" fmla="*/ 2753931 w 4871168"/>
              <a:gd name="connsiteY4" fmla="*/ 7150905 h 7829947"/>
              <a:gd name="connsiteX5" fmla="*/ 182720 w 4871168"/>
              <a:gd name="connsiteY5" fmla="*/ 7133321 h 7829947"/>
              <a:gd name="connsiteX0" fmla="*/ 186720 w 4875168"/>
              <a:gd name="connsiteY0" fmla="*/ 7137599 h 7835370"/>
              <a:gd name="connsiteX1" fmla="*/ 191837 w 4875168"/>
              <a:gd name="connsiteY1" fmla="*/ 289350 h 7835370"/>
              <a:gd name="connsiteX2" fmla="*/ 3109623 w 4875168"/>
              <a:gd name="connsiteY2" fmla="*/ 297183 h 7835370"/>
              <a:gd name="connsiteX3" fmla="*/ 4873021 w 4875168"/>
              <a:gd name="connsiteY3" fmla="*/ 3611883 h 7835370"/>
              <a:gd name="connsiteX4" fmla="*/ 2757931 w 4875168"/>
              <a:gd name="connsiteY4" fmla="*/ 7155183 h 7835370"/>
              <a:gd name="connsiteX5" fmla="*/ 186720 w 4875168"/>
              <a:gd name="connsiteY5" fmla="*/ 7137599 h 7835370"/>
              <a:gd name="connsiteX0" fmla="*/ 171307 w 4859755"/>
              <a:gd name="connsiteY0" fmla="*/ 7112714 h 7803338"/>
              <a:gd name="connsiteX1" fmla="*/ 226300 w 4859755"/>
              <a:gd name="connsiteY1" fmla="*/ 368374 h 7803338"/>
              <a:gd name="connsiteX2" fmla="*/ 3094210 w 4859755"/>
              <a:gd name="connsiteY2" fmla="*/ 272298 h 7803338"/>
              <a:gd name="connsiteX3" fmla="*/ 4857608 w 4859755"/>
              <a:gd name="connsiteY3" fmla="*/ 3586998 h 7803338"/>
              <a:gd name="connsiteX4" fmla="*/ 2742518 w 4859755"/>
              <a:gd name="connsiteY4" fmla="*/ 7130298 h 7803338"/>
              <a:gd name="connsiteX5" fmla="*/ 171307 w 4859755"/>
              <a:gd name="connsiteY5" fmla="*/ 7112714 h 7803338"/>
              <a:gd name="connsiteX0" fmla="*/ 184041 w 4872489"/>
              <a:gd name="connsiteY0" fmla="*/ 7134379 h 7831291"/>
              <a:gd name="connsiteX1" fmla="*/ 197470 w 4872489"/>
              <a:gd name="connsiteY1" fmla="*/ 298599 h 7831291"/>
              <a:gd name="connsiteX2" fmla="*/ 3106944 w 4872489"/>
              <a:gd name="connsiteY2" fmla="*/ 293963 h 7831291"/>
              <a:gd name="connsiteX3" fmla="*/ 4870342 w 4872489"/>
              <a:gd name="connsiteY3" fmla="*/ 3608663 h 7831291"/>
              <a:gd name="connsiteX4" fmla="*/ 2755252 w 4872489"/>
              <a:gd name="connsiteY4" fmla="*/ 7151963 h 7831291"/>
              <a:gd name="connsiteX5" fmla="*/ 184041 w 4872489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9716 w 4868927"/>
              <a:gd name="connsiteY0" fmla="*/ 7152851 h 7842196"/>
              <a:gd name="connsiteX1" fmla="*/ 193908 w 4868927"/>
              <a:gd name="connsiteY1" fmla="*/ 298599 h 7842196"/>
              <a:gd name="connsiteX2" fmla="*/ 3103382 w 4868927"/>
              <a:gd name="connsiteY2" fmla="*/ 293963 h 7842196"/>
              <a:gd name="connsiteX3" fmla="*/ 4866780 w 4868927"/>
              <a:gd name="connsiteY3" fmla="*/ 3608663 h 7842196"/>
              <a:gd name="connsiteX4" fmla="*/ 2751690 w 4868927"/>
              <a:gd name="connsiteY4" fmla="*/ 7151963 h 7842196"/>
              <a:gd name="connsiteX5" fmla="*/ 189716 w 4868927"/>
              <a:gd name="connsiteY5" fmla="*/ 7152851 h 7842196"/>
              <a:gd name="connsiteX0" fmla="*/ 2 w 4679213"/>
              <a:gd name="connsiteY0" fmla="*/ 7152851 h 7447842"/>
              <a:gd name="connsiteX1" fmla="*/ 4194 w 4679213"/>
              <a:gd name="connsiteY1" fmla="*/ 298599 h 7447842"/>
              <a:gd name="connsiteX2" fmla="*/ 2913668 w 4679213"/>
              <a:gd name="connsiteY2" fmla="*/ 293963 h 7447842"/>
              <a:gd name="connsiteX3" fmla="*/ 4677066 w 4679213"/>
              <a:gd name="connsiteY3" fmla="*/ 3608663 h 7447842"/>
              <a:gd name="connsiteX4" fmla="*/ 2561976 w 4679213"/>
              <a:gd name="connsiteY4" fmla="*/ 7151963 h 7447842"/>
              <a:gd name="connsiteX5" fmla="*/ 2 w 4679213"/>
              <a:gd name="connsiteY5" fmla="*/ 7152851 h 7447842"/>
              <a:gd name="connsiteX0" fmla="*/ 232986 w 4675130"/>
              <a:gd name="connsiteY0" fmla="*/ 7082039 h 7430577"/>
              <a:gd name="connsiteX1" fmla="*/ 111 w 4675130"/>
              <a:gd name="connsiteY1" fmla="*/ 298599 h 7430577"/>
              <a:gd name="connsiteX2" fmla="*/ 2909585 w 4675130"/>
              <a:gd name="connsiteY2" fmla="*/ 293963 h 7430577"/>
              <a:gd name="connsiteX3" fmla="*/ 4672983 w 4675130"/>
              <a:gd name="connsiteY3" fmla="*/ 3608663 h 7430577"/>
              <a:gd name="connsiteX4" fmla="*/ 2557893 w 4675130"/>
              <a:gd name="connsiteY4" fmla="*/ 7151963 h 7430577"/>
              <a:gd name="connsiteX5" fmla="*/ 232986 w 4675130"/>
              <a:gd name="connsiteY5" fmla="*/ 7082039 h 7430577"/>
              <a:gd name="connsiteX0" fmla="*/ 1481 w 4677613"/>
              <a:gd name="connsiteY0" fmla="*/ 7149773 h 7447048"/>
              <a:gd name="connsiteX1" fmla="*/ 2594 w 4677613"/>
              <a:gd name="connsiteY1" fmla="*/ 298599 h 7447048"/>
              <a:gd name="connsiteX2" fmla="*/ 2912068 w 4677613"/>
              <a:gd name="connsiteY2" fmla="*/ 293963 h 7447048"/>
              <a:gd name="connsiteX3" fmla="*/ 4675466 w 4677613"/>
              <a:gd name="connsiteY3" fmla="*/ 3608663 h 7447048"/>
              <a:gd name="connsiteX4" fmla="*/ 2560376 w 4677613"/>
              <a:gd name="connsiteY4" fmla="*/ 7151963 h 7447048"/>
              <a:gd name="connsiteX5" fmla="*/ 1481 w 4677613"/>
              <a:gd name="connsiteY5" fmla="*/ 7149773 h 7447048"/>
              <a:gd name="connsiteX0" fmla="*/ 165734 w 4841866"/>
              <a:gd name="connsiteY0" fmla="*/ 7139154 h 7826771"/>
              <a:gd name="connsiteX1" fmla="*/ 246896 w 4841866"/>
              <a:gd name="connsiteY1" fmla="*/ 331083 h 7826771"/>
              <a:gd name="connsiteX2" fmla="*/ 3076321 w 4841866"/>
              <a:gd name="connsiteY2" fmla="*/ 283344 h 7826771"/>
              <a:gd name="connsiteX3" fmla="*/ 4839719 w 4841866"/>
              <a:gd name="connsiteY3" fmla="*/ 3598044 h 7826771"/>
              <a:gd name="connsiteX4" fmla="*/ 2724629 w 4841866"/>
              <a:gd name="connsiteY4" fmla="*/ 7141344 h 7826771"/>
              <a:gd name="connsiteX5" fmla="*/ 165734 w 4841866"/>
              <a:gd name="connsiteY5" fmla="*/ 7139154 h 7826771"/>
              <a:gd name="connsiteX0" fmla="*/ 192597 w 4868729"/>
              <a:gd name="connsiteY0" fmla="*/ 7111990 h 7790893"/>
              <a:gd name="connsiteX1" fmla="*/ 187553 w 4868729"/>
              <a:gd name="connsiteY1" fmla="*/ 430149 h 7790893"/>
              <a:gd name="connsiteX2" fmla="*/ 3103184 w 4868729"/>
              <a:gd name="connsiteY2" fmla="*/ 256180 h 7790893"/>
              <a:gd name="connsiteX3" fmla="*/ 4866582 w 4868729"/>
              <a:gd name="connsiteY3" fmla="*/ 3570880 h 7790893"/>
              <a:gd name="connsiteX4" fmla="*/ 2751492 w 4868729"/>
              <a:gd name="connsiteY4" fmla="*/ 7114180 h 7790893"/>
              <a:gd name="connsiteX5" fmla="*/ 192597 w 4868729"/>
              <a:gd name="connsiteY5" fmla="*/ 7111990 h 7790893"/>
              <a:gd name="connsiteX0" fmla="*/ 135176 w 4811308"/>
              <a:gd name="connsiteY0" fmla="*/ 7105556 h 7782125"/>
              <a:gd name="connsiteX1" fmla="*/ 336411 w 4811308"/>
              <a:gd name="connsiteY1" fmla="*/ 457582 h 7782125"/>
              <a:gd name="connsiteX2" fmla="*/ 3045763 w 4811308"/>
              <a:gd name="connsiteY2" fmla="*/ 249746 h 7782125"/>
              <a:gd name="connsiteX3" fmla="*/ 4809161 w 4811308"/>
              <a:gd name="connsiteY3" fmla="*/ 3564446 h 7782125"/>
              <a:gd name="connsiteX4" fmla="*/ 2694071 w 4811308"/>
              <a:gd name="connsiteY4" fmla="*/ 7107746 h 7782125"/>
              <a:gd name="connsiteX5" fmla="*/ 135176 w 4811308"/>
              <a:gd name="connsiteY5" fmla="*/ 7105556 h 7782125"/>
              <a:gd name="connsiteX0" fmla="*/ 157213 w 4833345"/>
              <a:gd name="connsiteY0" fmla="*/ 7115639 h 7795816"/>
              <a:gd name="connsiteX1" fmla="*/ 269163 w 4833345"/>
              <a:gd name="connsiteY1" fmla="*/ 415325 h 7795816"/>
              <a:gd name="connsiteX2" fmla="*/ 3067800 w 4833345"/>
              <a:gd name="connsiteY2" fmla="*/ 259829 h 7795816"/>
              <a:gd name="connsiteX3" fmla="*/ 4831198 w 4833345"/>
              <a:gd name="connsiteY3" fmla="*/ 3574529 h 7795816"/>
              <a:gd name="connsiteX4" fmla="*/ 2716108 w 4833345"/>
              <a:gd name="connsiteY4" fmla="*/ 7117829 h 7795816"/>
              <a:gd name="connsiteX5" fmla="*/ 157213 w 4833345"/>
              <a:gd name="connsiteY5" fmla="*/ 7115639 h 7795816"/>
              <a:gd name="connsiteX0" fmla="*/ 156353 w 4832485"/>
              <a:gd name="connsiteY0" fmla="*/ 7115639 h 7795816"/>
              <a:gd name="connsiteX1" fmla="*/ 268303 w 4832485"/>
              <a:gd name="connsiteY1" fmla="*/ 415325 h 7795816"/>
              <a:gd name="connsiteX2" fmla="*/ 3066940 w 4832485"/>
              <a:gd name="connsiteY2" fmla="*/ 259829 h 7795816"/>
              <a:gd name="connsiteX3" fmla="*/ 4830338 w 4832485"/>
              <a:gd name="connsiteY3" fmla="*/ 3574529 h 7795816"/>
              <a:gd name="connsiteX4" fmla="*/ 2715248 w 4832485"/>
              <a:gd name="connsiteY4" fmla="*/ 7117829 h 7795816"/>
              <a:gd name="connsiteX5" fmla="*/ 156353 w 4832485"/>
              <a:gd name="connsiteY5" fmla="*/ 7115639 h 7795816"/>
              <a:gd name="connsiteX0" fmla="*/ 162218 w 4838350"/>
              <a:gd name="connsiteY0" fmla="*/ 7153758 h 7845421"/>
              <a:gd name="connsiteX1" fmla="*/ 252617 w 4838350"/>
              <a:gd name="connsiteY1" fmla="*/ 287189 h 7845421"/>
              <a:gd name="connsiteX2" fmla="*/ 3072805 w 4838350"/>
              <a:gd name="connsiteY2" fmla="*/ 297948 h 7845421"/>
              <a:gd name="connsiteX3" fmla="*/ 4836203 w 4838350"/>
              <a:gd name="connsiteY3" fmla="*/ 3612648 h 7845421"/>
              <a:gd name="connsiteX4" fmla="*/ 2721113 w 4838350"/>
              <a:gd name="connsiteY4" fmla="*/ 7155948 h 7845421"/>
              <a:gd name="connsiteX5" fmla="*/ 162218 w 4838350"/>
              <a:gd name="connsiteY5" fmla="*/ 7153758 h 7845421"/>
              <a:gd name="connsiteX0" fmla="*/ 162218 w 4838350"/>
              <a:gd name="connsiteY0" fmla="*/ 7127231 h 7811232"/>
              <a:gd name="connsiteX1" fmla="*/ 252617 w 4838350"/>
              <a:gd name="connsiteY1" fmla="*/ 371498 h 7811232"/>
              <a:gd name="connsiteX2" fmla="*/ 3072805 w 4838350"/>
              <a:gd name="connsiteY2" fmla="*/ 271421 h 7811232"/>
              <a:gd name="connsiteX3" fmla="*/ 4836203 w 4838350"/>
              <a:gd name="connsiteY3" fmla="*/ 3586121 h 7811232"/>
              <a:gd name="connsiteX4" fmla="*/ 2721113 w 4838350"/>
              <a:gd name="connsiteY4" fmla="*/ 7129421 h 7811232"/>
              <a:gd name="connsiteX5" fmla="*/ 162218 w 4838350"/>
              <a:gd name="connsiteY5" fmla="*/ 7127231 h 7811232"/>
              <a:gd name="connsiteX0" fmla="*/ 169100 w 4845232"/>
              <a:gd name="connsiteY0" fmla="*/ 7127237 h 7811238"/>
              <a:gd name="connsiteX1" fmla="*/ 259499 w 4845232"/>
              <a:gd name="connsiteY1" fmla="*/ 371504 h 7811238"/>
              <a:gd name="connsiteX2" fmla="*/ 3079687 w 4845232"/>
              <a:gd name="connsiteY2" fmla="*/ 271427 h 7811238"/>
              <a:gd name="connsiteX3" fmla="*/ 4843085 w 4845232"/>
              <a:gd name="connsiteY3" fmla="*/ 3586127 h 7811238"/>
              <a:gd name="connsiteX4" fmla="*/ 2727995 w 4845232"/>
              <a:gd name="connsiteY4" fmla="*/ 7129427 h 7811238"/>
              <a:gd name="connsiteX5" fmla="*/ 169100 w 4845232"/>
              <a:gd name="connsiteY5" fmla="*/ 7127237 h 7811238"/>
              <a:gd name="connsiteX0" fmla="*/ 219843 w 4895975"/>
              <a:gd name="connsiteY0" fmla="*/ 7118137 h 7799163"/>
              <a:gd name="connsiteX1" fmla="*/ 162460 w 4895975"/>
              <a:gd name="connsiteY1" fmla="*/ 405507 h 7799163"/>
              <a:gd name="connsiteX2" fmla="*/ 3130430 w 4895975"/>
              <a:gd name="connsiteY2" fmla="*/ 262327 h 7799163"/>
              <a:gd name="connsiteX3" fmla="*/ 4893828 w 4895975"/>
              <a:gd name="connsiteY3" fmla="*/ 3577027 h 7799163"/>
              <a:gd name="connsiteX4" fmla="*/ 2778738 w 4895975"/>
              <a:gd name="connsiteY4" fmla="*/ 7120327 h 7799163"/>
              <a:gd name="connsiteX5" fmla="*/ 219843 w 4895975"/>
              <a:gd name="connsiteY5" fmla="*/ 7118137 h 7799163"/>
              <a:gd name="connsiteX0" fmla="*/ 202277 w 4878409"/>
              <a:gd name="connsiteY0" fmla="*/ 7113808 h 7793348"/>
              <a:gd name="connsiteX1" fmla="*/ 191076 w 4878409"/>
              <a:gd name="connsiteY1" fmla="*/ 422730 h 7793348"/>
              <a:gd name="connsiteX2" fmla="*/ 3112864 w 4878409"/>
              <a:gd name="connsiteY2" fmla="*/ 257998 h 7793348"/>
              <a:gd name="connsiteX3" fmla="*/ 4876262 w 4878409"/>
              <a:gd name="connsiteY3" fmla="*/ 3572698 h 7793348"/>
              <a:gd name="connsiteX4" fmla="*/ 2761172 w 4878409"/>
              <a:gd name="connsiteY4" fmla="*/ 7115998 h 7793348"/>
              <a:gd name="connsiteX5" fmla="*/ 202277 w 4878409"/>
              <a:gd name="connsiteY5" fmla="*/ 7113808 h 7793348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85583 w 4761715"/>
              <a:gd name="connsiteY0" fmla="*/ 7107672 h 7785019"/>
              <a:gd name="connsiteX1" fmla="*/ 82333 w 4761715"/>
              <a:gd name="connsiteY1" fmla="*/ 448399 h 7785019"/>
              <a:gd name="connsiteX2" fmla="*/ 2996170 w 4761715"/>
              <a:gd name="connsiteY2" fmla="*/ 251862 h 7785019"/>
              <a:gd name="connsiteX3" fmla="*/ 4759568 w 4761715"/>
              <a:gd name="connsiteY3" fmla="*/ 3566562 h 7785019"/>
              <a:gd name="connsiteX4" fmla="*/ 2644478 w 4761715"/>
              <a:gd name="connsiteY4" fmla="*/ 7109862 h 7785019"/>
              <a:gd name="connsiteX5" fmla="*/ 85583 w 4761715"/>
              <a:gd name="connsiteY5" fmla="*/ 7107672 h 7785019"/>
              <a:gd name="connsiteX0" fmla="*/ 85583 w 4761715"/>
              <a:gd name="connsiteY0" fmla="*/ 7074631 h 7751978"/>
              <a:gd name="connsiteX1" fmla="*/ 82333 w 4761715"/>
              <a:gd name="connsiteY1" fmla="*/ 415358 h 7751978"/>
              <a:gd name="connsiteX2" fmla="*/ 2996170 w 4761715"/>
              <a:gd name="connsiteY2" fmla="*/ 218821 h 7751978"/>
              <a:gd name="connsiteX3" fmla="*/ 4759568 w 4761715"/>
              <a:gd name="connsiteY3" fmla="*/ 3533521 h 7751978"/>
              <a:gd name="connsiteX4" fmla="*/ 2644478 w 4761715"/>
              <a:gd name="connsiteY4" fmla="*/ 7076821 h 7751978"/>
              <a:gd name="connsiteX5" fmla="*/ 85583 w 4761715"/>
              <a:gd name="connsiteY5" fmla="*/ 7074631 h 7751978"/>
              <a:gd name="connsiteX0" fmla="*/ 157610 w 4833742"/>
              <a:gd name="connsiteY0" fmla="*/ 7074631 h 7751978"/>
              <a:gd name="connsiteX1" fmla="*/ 154360 w 4833742"/>
              <a:gd name="connsiteY1" fmla="*/ 415358 h 7751978"/>
              <a:gd name="connsiteX2" fmla="*/ 3068197 w 4833742"/>
              <a:gd name="connsiteY2" fmla="*/ 218821 h 7751978"/>
              <a:gd name="connsiteX3" fmla="*/ 4831595 w 4833742"/>
              <a:gd name="connsiteY3" fmla="*/ 3533521 h 7751978"/>
              <a:gd name="connsiteX4" fmla="*/ 2716505 w 4833742"/>
              <a:gd name="connsiteY4" fmla="*/ 7076821 h 7751978"/>
              <a:gd name="connsiteX5" fmla="*/ 157610 w 4833742"/>
              <a:gd name="connsiteY5" fmla="*/ 7074631 h 7751978"/>
              <a:gd name="connsiteX0" fmla="*/ 345911 w 5022043"/>
              <a:gd name="connsiteY0" fmla="*/ 7098958 h 7776305"/>
              <a:gd name="connsiteX1" fmla="*/ 342661 w 5022043"/>
              <a:gd name="connsiteY1" fmla="*/ 439685 h 7776305"/>
              <a:gd name="connsiteX2" fmla="*/ 3256498 w 5022043"/>
              <a:gd name="connsiteY2" fmla="*/ 243148 h 7776305"/>
              <a:gd name="connsiteX3" fmla="*/ 5019896 w 5022043"/>
              <a:gd name="connsiteY3" fmla="*/ 3557848 h 7776305"/>
              <a:gd name="connsiteX4" fmla="*/ 2904806 w 5022043"/>
              <a:gd name="connsiteY4" fmla="*/ 7101148 h 7776305"/>
              <a:gd name="connsiteX5" fmla="*/ 345911 w 5022043"/>
              <a:gd name="connsiteY5" fmla="*/ 7098958 h 7776305"/>
              <a:gd name="connsiteX0" fmla="*/ 190117 w 4866249"/>
              <a:gd name="connsiteY0" fmla="*/ 7193225 h 7870572"/>
              <a:gd name="connsiteX1" fmla="*/ 186867 w 4866249"/>
              <a:gd name="connsiteY1" fmla="*/ 533952 h 7870572"/>
              <a:gd name="connsiteX2" fmla="*/ 3100704 w 4866249"/>
              <a:gd name="connsiteY2" fmla="*/ 337415 h 7870572"/>
              <a:gd name="connsiteX3" fmla="*/ 4864102 w 4866249"/>
              <a:gd name="connsiteY3" fmla="*/ 3652115 h 7870572"/>
              <a:gd name="connsiteX4" fmla="*/ 2749012 w 4866249"/>
              <a:gd name="connsiteY4" fmla="*/ 7195415 h 7870572"/>
              <a:gd name="connsiteX5" fmla="*/ 190117 w 4866249"/>
              <a:gd name="connsiteY5" fmla="*/ 7193225 h 7870572"/>
              <a:gd name="connsiteX0" fmla="*/ 188894 w 4865026"/>
              <a:gd name="connsiteY0" fmla="*/ 7274677 h 7967496"/>
              <a:gd name="connsiteX1" fmla="*/ 189317 w 4865026"/>
              <a:gd name="connsiteY1" fmla="*/ 391394 h 7967496"/>
              <a:gd name="connsiteX2" fmla="*/ 3099481 w 4865026"/>
              <a:gd name="connsiteY2" fmla="*/ 418867 h 7967496"/>
              <a:gd name="connsiteX3" fmla="*/ 4862879 w 4865026"/>
              <a:gd name="connsiteY3" fmla="*/ 3733567 h 7967496"/>
              <a:gd name="connsiteX4" fmla="*/ 2747789 w 4865026"/>
              <a:gd name="connsiteY4" fmla="*/ 7276867 h 7967496"/>
              <a:gd name="connsiteX5" fmla="*/ 188894 w 4865026"/>
              <a:gd name="connsiteY5" fmla="*/ 7274677 h 7967496"/>
              <a:gd name="connsiteX0" fmla="*/ 192591 w 4868723"/>
              <a:gd name="connsiteY0" fmla="*/ 7277850 h 7971178"/>
              <a:gd name="connsiteX1" fmla="*/ 181997 w 4868723"/>
              <a:gd name="connsiteY1" fmla="*/ 387222 h 7971178"/>
              <a:gd name="connsiteX2" fmla="*/ 3103178 w 4868723"/>
              <a:gd name="connsiteY2" fmla="*/ 422040 h 7971178"/>
              <a:gd name="connsiteX3" fmla="*/ 4866576 w 4868723"/>
              <a:gd name="connsiteY3" fmla="*/ 3736740 h 7971178"/>
              <a:gd name="connsiteX4" fmla="*/ 2751486 w 4868723"/>
              <a:gd name="connsiteY4" fmla="*/ 7280040 h 7971178"/>
              <a:gd name="connsiteX5" fmla="*/ 192591 w 4868723"/>
              <a:gd name="connsiteY5" fmla="*/ 7277850 h 7971178"/>
              <a:gd name="connsiteX0" fmla="*/ 193427 w 4869559"/>
              <a:gd name="connsiteY0" fmla="*/ 7163116 h 7856444"/>
              <a:gd name="connsiteX1" fmla="*/ 182833 w 4869559"/>
              <a:gd name="connsiteY1" fmla="*/ 272488 h 7856444"/>
              <a:gd name="connsiteX2" fmla="*/ 3104014 w 4869559"/>
              <a:gd name="connsiteY2" fmla="*/ 307306 h 7856444"/>
              <a:gd name="connsiteX3" fmla="*/ 4867412 w 4869559"/>
              <a:gd name="connsiteY3" fmla="*/ 3622006 h 7856444"/>
              <a:gd name="connsiteX4" fmla="*/ 2752322 w 4869559"/>
              <a:gd name="connsiteY4" fmla="*/ 7165306 h 7856444"/>
              <a:gd name="connsiteX5" fmla="*/ 193427 w 4869559"/>
              <a:gd name="connsiteY5" fmla="*/ 7163116 h 7856444"/>
              <a:gd name="connsiteX0" fmla="*/ 170155 w 4846287"/>
              <a:gd name="connsiteY0" fmla="*/ 7143047 h 7831040"/>
              <a:gd name="connsiteX1" fmla="*/ 233007 w 4846287"/>
              <a:gd name="connsiteY1" fmla="*/ 329537 h 7831040"/>
              <a:gd name="connsiteX2" fmla="*/ 3080742 w 4846287"/>
              <a:gd name="connsiteY2" fmla="*/ 287237 h 7831040"/>
              <a:gd name="connsiteX3" fmla="*/ 4844140 w 4846287"/>
              <a:gd name="connsiteY3" fmla="*/ 3601937 h 7831040"/>
              <a:gd name="connsiteX4" fmla="*/ 2729050 w 4846287"/>
              <a:gd name="connsiteY4" fmla="*/ 7145237 h 7831040"/>
              <a:gd name="connsiteX5" fmla="*/ 170155 w 4846287"/>
              <a:gd name="connsiteY5" fmla="*/ 7143047 h 7831040"/>
              <a:gd name="connsiteX0" fmla="*/ 188486 w 4864618"/>
              <a:gd name="connsiteY0" fmla="*/ 7162098 h 7855172"/>
              <a:gd name="connsiteX1" fmla="*/ 192581 w 4864618"/>
              <a:gd name="connsiteY1" fmla="*/ 275143 h 7855172"/>
              <a:gd name="connsiteX2" fmla="*/ 3099073 w 4864618"/>
              <a:gd name="connsiteY2" fmla="*/ 306288 h 7855172"/>
              <a:gd name="connsiteX3" fmla="*/ 4862471 w 4864618"/>
              <a:gd name="connsiteY3" fmla="*/ 3620988 h 7855172"/>
              <a:gd name="connsiteX4" fmla="*/ 2747381 w 4864618"/>
              <a:gd name="connsiteY4" fmla="*/ 7164288 h 7855172"/>
              <a:gd name="connsiteX5" fmla="*/ 188486 w 4864618"/>
              <a:gd name="connsiteY5" fmla="*/ 7162098 h 785517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181559 h 7874633"/>
              <a:gd name="connsiteX1" fmla="*/ 344138 w 5016181"/>
              <a:gd name="connsiteY1" fmla="*/ 294604 h 7874633"/>
              <a:gd name="connsiteX2" fmla="*/ 3254303 w 5016181"/>
              <a:gd name="connsiteY2" fmla="*/ 296371 h 7874633"/>
              <a:gd name="connsiteX3" fmla="*/ 5014028 w 5016181"/>
              <a:gd name="connsiteY3" fmla="*/ 3640449 h 7874633"/>
              <a:gd name="connsiteX4" fmla="*/ 2898938 w 5016181"/>
              <a:gd name="connsiteY4" fmla="*/ 7183749 h 7874633"/>
              <a:gd name="connsiteX5" fmla="*/ 340043 w 5016181"/>
              <a:gd name="connsiteY5" fmla="*/ 7181559 h 7874633"/>
              <a:gd name="connsiteX0" fmla="*/ 340043 w 5016181"/>
              <a:gd name="connsiteY0" fmla="*/ 7183197 h 7876271"/>
              <a:gd name="connsiteX1" fmla="*/ 344138 w 5016181"/>
              <a:gd name="connsiteY1" fmla="*/ 296242 h 7876271"/>
              <a:gd name="connsiteX2" fmla="*/ 3254303 w 5016181"/>
              <a:gd name="connsiteY2" fmla="*/ 298009 h 7876271"/>
              <a:gd name="connsiteX3" fmla="*/ 5014028 w 5016181"/>
              <a:gd name="connsiteY3" fmla="*/ 3642087 h 7876271"/>
              <a:gd name="connsiteX4" fmla="*/ 2898938 w 5016181"/>
              <a:gd name="connsiteY4" fmla="*/ 7185387 h 7876271"/>
              <a:gd name="connsiteX5" fmla="*/ 340043 w 5016181"/>
              <a:gd name="connsiteY5" fmla="*/ 7183197 h 7876271"/>
              <a:gd name="connsiteX0" fmla="*/ 340043 w 5016181"/>
              <a:gd name="connsiteY0" fmla="*/ 7184031 h 7877324"/>
              <a:gd name="connsiteX1" fmla="*/ 344138 w 5016181"/>
              <a:gd name="connsiteY1" fmla="*/ 293901 h 7877324"/>
              <a:gd name="connsiteX2" fmla="*/ 3254303 w 5016181"/>
              <a:gd name="connsiteY2" fmla="*/ 298843 h 7877324"/>
              <a:gd name="connsiteX3" fmla="*/ 5014028 w 5016181"/>
              <a:gd name="connsiteY3" fmla="*/ 3642921 h 7877324"/>
              <a:gd name="connsiteX4" fmla="*/ 2898938 w 5016181"/>
              <a:gd name="connsiteY4" fmla="*/ 7186221 h 7877324"/>
              <a:gd name="connsiteX5" fmla="*/ 340043 w 5016181"/>
              <a:gd name="connsiteY5" fmla="*/ 7184031 h 7877324"/>
              <a:gd name="connsiteX0" fmla="*/ 338200 w 5014338"/>
              <a:gd name="connsiteY0" fmla="*/ 7184031 h 7877324"/>
              <a:gd name="connsiteX1" fmla="*/ 345470 w 5014338"/>
              <a:gd name="connsiteY1" fmla="*/ 293901 h 7877324"/>
              <a:gd name="connsiteX2" fmla="*/ 3252460 w 5014338"/>
              <a:gd name="connsiteY2" fmla="*/ 298843 h 7877324"/>
              <a:gd name="connsiteX3" fmla="*/ 5012185 w 5014338"/>
              <a:gd name="connsiteY3" fmla="*/ 3642921 h 7877324"/>
              <a:gd name="connsiteX4" fmla="*/ 2897095 w 5014338"/>
              <a:gd name="connsiteY4" fmla="*/ 7186221 h 7877324"/>
              <a:gd name="connsiteX5" fmla="*/ 338200 w 5014338"/>
              <a:gd name="connsiteY5" fmla="*/ 7184031 h 7877324"/>
              <a:gd name="connsiteX0" fmla="*/ 338200 w 5014338"/>
              <a:gd name="connsiteY0" fmla="*/ 7183318 h 7876611"/>
              <a:gd name="connsiteX1" fmla="*/ 345470 w 5014338"/>
              <a:gd name="connsiteY1" fmla="*/ 293188 h 7876611"/>
              <a:gd name="connsiteX2" fmla="*/ 3252460 w 5014338"/>
              <a:gd name="connsiteY2" fmla="*/ 298130 h 7876611"/>
              <a:gd name="connsiteX3" fmla="*/ 5012185 w 5014338"/>
              <a:gd name="connsiteY3" fmla="*/ 3642208 h 7876611"/>
              <a:gd name="connsiteX4" fmla="*/ 2897095 w 5014338"/>
              <a:gd name="connsiteY4" fmla="*/ 7185508 h 7876611"/>
              <a:gd name="connsiteX5" fmla="*/ 338200 w 5014338"/>
              <a:gd name="connsiteY5" fmla="*/ 7183318 h 7876611"/>
              <a:gd name="connsiteX0" fmla="*/ 189227 w 4865365"/>
              <a:gd name="connsiteY0" fmla="*/ 7183318 h 7876611"/>
              <a:gd name="connsiteX1" fmla="*/ 196497 w 4865365"/>
              <a:gd name="connsiteY1" fmla="*/ 293188 h 7876611"/>
              <a:gd name="connsiteX2" fmla="*/ 3103487 w 4865365"/>
              <a:gd name="connsiteY2" fmla="*/ 298130 h 7876611"/>
              <a:gd name="connsiteX3" fmla="*/ 4863212 w 4865365"/>
              <a:gd name="connsiteY3" fmla="*/ 3642208 h 7876611"/>
              <a:gd name="connsiteX4" fmla="*/ 2748122 w 4865365"/>
              <a:gd name="connsiteY4" fmla="*/ 7185508 h 7876611"/>
              <a:gd name="connsiteX5" fmla="*/ 189227 w 4865365"/>
              <a:gd name="connsiteY5" fmla="*/ 7183318 h 7876611"/>
              <a:gd name="connsiteX0" fmla="*/ 192432 w 4868570"/>
              <a:gd name="connsiteY0" fmla="*/ 7183318 h 7876611"/>
              <a:gd name="connsiteX1" fmla="*/ 190177 w 4868570"/>
              <a:gd name="connsiteY1" fmla="*/ 293188 h 7876611"/>
              <a:gd name="connsiteX2" fmla="*/ 3106692 w 4868570"/>
              <a:gd name="connsiteY2" fmla="*/ 298130 h 7876611"/>
              <a:gd name="connsiteX3" fmla="*/ 4866417 w 4868570"/>
              <a:gd name="connsiteY3" fmla="*/ 3642208 h 7876611"/>
              <a:gd name="connsiteX4" fmla="*/ 2751327 w 4868570"/>
              <a:gd name="connsiteY4" fmla="*/ 7185508 h 7876611"/>
              <a:gd name="connsiteX5" fmla="*/ 192432 w 4868570"/>
              <a:gd name="connsiteY5" fmla="*/ 7183318 h 7876611"/>
              <a:gd name="connsiteX0" fmla="*/ 190287 w 4866425"/>
              <a:gd name="connsiteY0" fmla="*/ 7183318 h 7876611"/>
              <a:gd name="connsiteX1" fmla="*/ 188032 w 4866425"/>
              <a:gd name="connsiteY1" fmla="*/ 293188 h 7876611"/>
              <a:gd name="connsiteX2" fmla="*/ 3104547 w 4866425"/>
              <a:gd name="connsiteY2" fmla="*/ 298130 h 7876611"/>
              <a:gd name="connsiteX3" fmla="*/ 4864272 w 4866425"/>
              <a:gd name="connsiteY3" fmla="*/ 3642208 h 7876611"/>
              <a:gd name="connsiteX4" fmla="*/ 2749182 w 4866425"/>
              <a:gd name="connsiteY4" fmla="*/ 7185508 h 7876611"/>
              <a:gd name="connsiteX5" fmla="*/ 190287 w 4866425"/>
              <a:gd name="connsiteY5" fmla="*/ 7183318 h 7876611"/>
              <a:gd name="connsiteX0" fmla="*/ 190287 w 4866425"/>
              <a:gd name="connsiteY0" fmla="*/ 7154743 h 7859802"/>
              <a:gd name="connsiteX1" fmla="*/ 188032 w 4866425"/>
              <a:gd name="connsiteY1" fmla="*/ 293188 h 7859802"/>
              <a:gd name="connsiteX2" fmla="*/ 3104547 w 4866425"/>
              <a:gd name="connsiteY2" fmla="*/ 298130 h 7859802"/>
              <a:gd name="connsiteX3" fmla="*/ 4864272 w 4866425"/>
              <a:gd name="connsiteY3" fmla="*/ 3642208 h 7859802"/>
              <a:gd name="connsiteX4" fmla="*/ 2749182 w 4866425"/>
              <a:gd name="connsiteY4" fmla="*/ 7185508 h 7859802"/>
              <a:gd name="connsiteX5" fmla="*/ 190287 w 4866425"/>
              <a:gd name="connsiteY5" fmla="*/ 7154743 h 7859802"/>
              <a:gd name="connsiteX0" fmla="*/ 2255 w 4678393"/>
              <a:gd name="connsiteY0" fmla="*/ 7154743 h 7872894"/>
              <a:gd name="connsiteX1" fmla="*/ 0 w 4678393"/>
              <a:gd name="connsiteY1" fmla="*/ 293188 h 7872894"/>
              <a:gd name="connsiteX2" fmla="*/ 2916515 w 4678393"/>
              <a:gd name="connsiteY2" fmla="*/ 298130 h 7872894"/>
              <a:gd name="connsiteX3" fmla="*/ 4676240 w 4678393"/>
              <a:gd name="connsiteY3" fmla="*/ 3642208 h 7872894"/>
              <a:gd name="connsiteX4" fmla="*/ 2561150 w 4678393"/>
              <a:gd name="connsiteY4" fmla="*/ 7185508 h 7872894"/>
              <a:gd name="connsiteX5" fmla="*/ 2255 w 4678393"/>
              <a:gd name="connsiteY5" fmla="*/ 7154743 h 7872894"/>
              <a:gd name="connsiteX0" fmla="*/ 2822 w 4678960"/>
              <a:gd name="connsiteY0" fmla="*/ 7154743 h 7874206"/>
              <a:gd name="connsiteX1" fmla="*/ 567 w 4678960"/>
              <a:gd name="connsiteY1" fmla="*/ 293188 h 7874206"/>
              <a:gd name="connsiteX2" fmla="*/ 2917082 w 4678960"/>
              <a:gd name="connsiteY2" fmla="*/ 298130 h 7874206"/>
              <a:gd name="connsiteX3" fmla="*/ 4676807 w 4678960"/>
              <a:gd name="connsiteY3" fmla="*/ 3642208 h 7874206"/>
              <a:gd name="connsiteX4" fmla="*/ 2561717 w 4678960"/>
              <a:gd name="connsiteY4" fmla="*/ 7185508 h 7874206"/>
              <a:gd name="connsiteX5" fmla="*/ 2822 w 4678960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473936"/>
              <a:gd name="connsiteX1" fmla="*/ 0 w 4678393"/>
              <a:gd name="connsiteY1" fmla="*/ 293188 h 7473936"/>
              <a:gd name="connsiteX2" fmla="*/ 2916515 w 4678393"/>
              <a:gd name="connsiteY2" fmla="*/ 298130 h 7473936"/>
              <a:gd name="connsiteX3" fmla="*/ 4676240 w 4678393"/>
              <a:gd name="connsiteY3" fmla="*/ 3642208 h 7473936"/>
              <a:gd name="connsiteX4" fmla="*/ 2561150 w 4678393"/>
              <a:gd name="connsiteY4" fmla="*/ 7185508 h 7473936"/>
              <a:gd name="connsiteX5" fmla="*/ 2255 w 4678393"/>
              <a:gd name="connsiteY5" fmla="*/ 7154743 h 7473936"/>
              <a:gd name="connsiteX0" fmla="*/ 2255 w 4678393"/>
              <a:gd name="connsiteY0" fmla="*/ 7154743 h 7450206"/>
              <a:gd name="connsiteX1" fmla="*/ 0 w 4678393"/>
              <a:gd name="connsiteY1" fmla="*/ 293188 h 7450206"/>
              <a:gd name="connsiteX2" fmla="*/ 2916515 w 4678393"/>
              <a:gd name="connsiteY2" fmla="*/ 298130 h 7450206"/>
              <a:gd name="connsiteX3" fmla="*/ 4676240 w 4678393"/>
              <a:gd name="connsiteY3" fmla="*/ 3642208 h 7450206"/>
              <a:gd name="connsiteX4" fmla="*/ 2564325 w 4678393"/>
              <a:gd name="connsiteY4" fmla="*/ 7153758 h 7450206"/>
              <a:gd name="connsiteX5" fmla="*/ 2255 w 4678393"/>
              <a:gd name="connsiteY5" fmla="*/ 7154743 h 7450206"/>
              <a:gd name="connsiteX0" fmla="*/ 2255 w 4678393"/>
              <a:gd name="connsiteY0" fmla="*/ 7154743 h 7154743"/>
              <a:gd name="connsiteX1" fmla="*/ 0 w 4678393"/>
              <a:gd name="connsiteY1" fmla="*/ 293188 h 7154743"/>
              <a:gd name="connsiteX2" fmla="*/ 2916515 w 4678393"/>
              <a:gd name="connsiteY2" fmla="*/ 298130 h 7154743"/>
              <a:gd name="connsiteX3" fmla="*/ 4676240 w 4678393"/>
              <a:gd name="connsiteY3" fmla="*/ 3642208 h 7154743"/>
              <a:gd name="connsiteX4" fmla="*/ 2564325 w 4678393"/>
              <a:gd name="connsiteY4" fmla="*/ 7153758 h 7154743"/>
              <a:gd name="connsiteX5" fmla="*/ 2255 w 4678393"/>
              <a:gd name="connsiteY5" fmla="*/ 7154743 h 7154743"/>
              <a:gd name="connsiteX0" fmla="*/ 2255 w 4678393"/>
              <a:gd name="connsiteY0" fmla="*/ 6861555 h 6861555"/>
              <a:gd name="connsiteX1" fmla="*/ 0 w 4678393"/>
              <a:gd name="connsiteY1" fmla="*/ 0 h 6861555"/>
              <a:gd name="connsiteX2" fmla="*/ 2916515 w 4678393"/>
              <a:gd name="connsiteY2" fmla="*/ 4942 h 6861555"/>
              <a:gd name="connsiteX3" fmla="*/ 4676240 w 4678393"/>
              <a:gd name="connsiteY3" fmla="*/ 3349020 h 6861555"/>
              <a:gd name="connsiteX4" fmla="*/ 2564325 w 4678393"/>
              <a:gd name="connsiteY4" fmla="*/ 6860570 h 6861555"/>
              <a:gd name="connsiteX5" fmla="*/ 2255 w 4678393"/>
              <a:gd name="connsiteY5" fmla="*/ 6861555 h 6861555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9009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8377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3061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71578"/>
              <a:gd name="connsiteX1" fmla="*/ 0 w 4678399"/>
              <a:gd name="connsiteY1" fmla="*/ 1408 h 6871578"/>
              <a:gd name="connsiteX2" fmla="*/ 2919690 w 4678399"/>
              <a:gd name="connsiteY2" fmla="*/ 0 h 6871578"/>
              <a:gd name="connsiteX3" fmla="*/ 4676240 w 4678399"/>
              <a:gd name="connsiteY3" fmla="*/ 3350428 h 6871578"/>
              <a:gd name="connsiteX4" fmla="*/ 2521796 w 4678399"/>
              <a:gd name="connsiteY4" fmla="*/ 6871578 h 6871578"/>
              <a:gd name="connsiteX5" fmla="*/ 2255 w 4678399"/>
              <a:gd name="connsiteY5" fmla="*/ 6862963 h 6871578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6240" h="6862963">
                <a:moveTo>
                  <a:pt x="2255" y="6862963"/>
                </a:moveTo>
                <a:cubicBezTo>
                  <a:pt x="847" y="5679318"/>
                  <a:pt x="65" y="1117189"/>
                  <a:pt x="0" y="1408"/>
                </a:cubicBezTo>
                <a:lnTo>
                  <a:pt x="2919690" y="0"/>
                </a:lnTo>
                <a:cubicBezTo>
                  <a:pt x="3347209" y="321191"/>
                  <a:pt x="4644479" y="1245147"/>
                  <a:pt x="4676240" y="3350428"/>
                </a:cubicBezTo>
                <a:cubicBezTo>
                  <a:pt x="4625578" y="5097946"/>
                  <a:pt x="3667890" y="6255680"/>
                  <a:pt x="2516480" y="6860945"/>
                </a:cubicBezTo>
                <a:lnTo>
                  <a:pt x="2255" y="6862963"/>
                </a:lnTo>
                <a:close/>
              </a:path>
            </a:pathLst>
          </a:custGeom>
          <a:ln>
            <a:noFill/>
          </a:ln>
          <a:extLst>
            <a:ext uri="{91240B29-F687-4f45-9708-019B960494DF}"/>
          </a:extLst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8461" y="110949"/>
            <a:ext cx="6882540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28461" y="1533600"/>
            <a:ext cx="688254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928461" y="2174400"/>
            <a:ext cx="688254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34097251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2585" y="110949"/>
            <a:ext cx="7138416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72585" y="1533600"/>
            <a:ext cx="713841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72585" y="2174400"/>
            <a:ext cx="7138416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3CA72A1A-CDA5-9A46-A824-8BA40A7BC7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301067" cy="68580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90109749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1064882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091988" y="0"/>
            <a:ext cx="128587" cy="145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55000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 bwMode="ltGray">
          <a:xfrm>
            <a:off x="0" y="-9254"/>
            <a:ext cx="4672584" cy="6867254"/>
          </a:xfrm>
          <a:custGeom>
            <a:avLst/>
            <a:gdLst>
              <a:gd name="connsiteX0" fmla="*/ 0 w 8001000"/>
              <a:gd name="connsiteY0" fmla="*/ 4000500 h 8001000"/>
              <a:gd name="connsiteX1" fmla="*/ 4000500 w 8001000"/>
              <a:gd name="connsiteY1" fmla="*/ 0 h 8001000"/>
              <a:gd name="connsiteX2" fmla="*/ 8001000 w 8001000"/>
              <a:gd name="connsiteY2" fmla="*/ 4000500 h 8001000"/>
              <a:gd name="connsiteX3" fmla="*/ 4000500 w 8001000"/>
              <a:gd name="connsiteY3" fmla="*/ 8001000 h 8001000"/>
              <a:gd name="connsiteX4" fmla="*/ 0 w 8001000"/>
              <a:gd name="connsiteY4" fmla="*/ 4000500 h 8001000"/>
              <a:gd name="connsiteX0" fmla="*/ 0 w 8060683"/>
              <a:gd name="connsiteY0" fmla="*/ 4222799 h 8223299"/>
              <a:gd name="connsiteX1" fmla="*/ 4000500 w 8060683"/>
              <a:gd name="connsiteY1" fmla="*/ 222299 h 8223299"/>
              <a:gd name="connsiteX2" fmla="*/ 6237602 w 8060683"/>
              <a:gd name="connsiteY2" fmla="*/ 908099 h 8223299"/>
              <a:gd name="connsiteX3" fmla="*/ 8001000 w 8060683"/>
              <a:gd name="connsiteY3" fmla="*/ 4222799 h 8223299"/>
              <a:gd name="connsiteX4" fmla="*/ 4000500 w 8060683"/>
              <a:gd name="connsiteY4" fmla="*/ 8223299 h 8223299"/>
              <a:gd name="connsiteX5" fmla="*/ 0 w 8060683"/>
              <a:gd name="connsiteY5" fmla="*/ 4222799 h 8223299"/>
              <a:gd name="connsiteX0" fmla="*/ 8055 w 8068738"/>
              <a:gd name="connsiteY0" fmla="*/ 3760842 h 7761342"/>
              <a:gd name="connsiteX1" fmla="*/ 3296378 w 8068738"/>
              <a:gd name="connsiteY1" fmla="*/ 472519 h 7761342"/>
              <a:gd name="connsiteX2" fmla="*/ 6245657 w 8068738"/>
              <a:gd name="connsiteY2" fmla="*/ 446142 h 7761342"/>
              <a:gd name="connsiteX3" fmla="*/ 8009055 w 8068738"/>
              <a:gd name="connsiteY3" fmla="*/ 3760842 h 7761342"/>
              <a:gd name="connsiteX4" fmla="*/ 4008555 w 8068738"/>
              <a:gd name="connsiteY4" fmla="*/ 7761342 h 7761342"/>
              <a:gd name="connsiteX5" fmla="*/ 8055 w 8068738"/>
              <a:gd name="connsiteY5" fmla="*/ 3760842 h 7761342"/>
              <a:gd name="connsiteX0" fmla="*/ 6123 w 8066806"/>
              <a:gd name="connsiteY0" fmla="*/ 3768834 h 7769334"/>
              <a:gd name="connsiteX1" fmla="*/ 3373577 w 8066806"/>
              <a:gd name="connsiteY1" fmla="*/ 462926 h 7769334"/>
              <a:gd name="connsiteX2" fmla="*/ 6243725 w 8066806"/>
              <a:gd name="connsiteY2" fmla="*/ 454134 h 7769334"/>
              <a:gd name="connsiteX3" fmla="*/ 8007123 w 8066806"/>
              <a:gd name="connsiteY3" fmla="*/ 3768834 h 7769334"/>
              <a:gd name="connsiteX4" fmla="*/ 4006623 w 8066806"/>
              <a:gd name="connsiteY4" fmla="*/ 7769334 h 7769334"/>
              <a:gd name="connsiteX5" fmla="*/ 6123 w 8066806"/>
              <a:gd name="connsiteY5" fmla="*/ 3768834 h 7769334"/>
              <a:gd name="connsiteX0" fmla="*/ 6939 w 8067622"/>
              <a:gd name="connsiteY0" fmla="*/ 3768834 h 7769334"/>
              <a:gd name="connsiteX1" fmla="*/ 3339224 w 8067622"/>
              <a:gd name="connsiteY1" fmla="*/ 462926 h 7769334"/>
              <a:gd name="connsiteX2" fmla="*/ 6244541 w 8067622"/>
              <a:gd name="connsiteY2" fmla="*/ 454134 h 7769334"/>
              <a:gd name="connsiteX3" fmla="*/ 8007939 w 8067622"/>
              <a:gd name="connsiteY3" fmla="*/ 3768834 h 7769334"/>
              <a:gd name="connsiteX4" fmla="*/ 4007439 w 8067622"/>
              <a:gd name="connsiteY4" fmla="*/ 7769334 h 7769334"/>
              <a:gd name="connsiteX5" fmla="*/ 6939 w 8067622"/>
              <a:gd name="connsiteY5" fmla="*/ 3768834 h 7769334"/>
              <a:gd name="connsiteX0" fmla="*/ 6939 w 8010086"/>
              <a:gd name="connsiteY0" fmla="*/ 3768834 h 7984710"/>
              <a:gd name="connsiteX1" fmla="*/ 3339224 w 8010086"/>
              <a:gd name="connsiteY1" fmla="*/ 462926 h 7984710"/>
              <a:gd name="connsiteX2" fmla="*/ 6244541 w 8010086"/>
              <a:gd name="connsiteY2" fmla="*/ 454134 h 7984710"/>
              <a:gd name="connsiteX3" fmla="*/ 8007939 w 8010086"/>
              <a:gd name="connsiteY3" fmla="*/ 3768834 h 7984710"/>
              <a:gd name="connsiteX4" fmla="*/ 5892849 w 8010086"/>
              <a:gd name="connsiteY4" fmla="*/ 7057157 h 7984710"/>
              <a:gd name="connsiteX5" fmla="*/ 4007439 w 8010086"/>
              <a:gd name="connsiteY5" fmla="*/ 7769334 h 7984710"/>
              <a:gd name="connsiteX6" fmla="*/ 6939 w 8010086"/>
              <a:gd name="connsiteY6" fmla="*/ 3768834 h 7984710"/>
              <a:gd name="connsiteX0" fmla="*/ 6939 w 8010086"/>
              <a:gd name="connsiteY0" fmla="*/ 3768834 h 8061801"/>
              <a:gd name="connsiteX1" fmla="*/ 3339224 w 8010086"/>
              <a:gd name="connsiteY1" fmla="*/ 462926 h 8061801"/>
              <a:gd name="connsiteX2" fmla="*/ 6244541 w 8010086"/>
              <a:gd name="connsiteY2" fmla="*/ 454134 h 8061801"/>
              <a:gd name="connsiteX3" fmla="*/ 8007939 w 8010086"/>
              <a:gd name="connsiteY3" fmla="*/ 3768834 h 8061801"/>
              <a:gd name="connsiteX4" fmla="*/ 5892849 w 8010086"/>
              <a:gd name="connsiteY4" fmla="*/ 7312134 h 8061801"/>
              <a:gd name="connsiteX5" fmla="*/ 4007439 w 8010086"/>
              <a:gd name="connsiteY5" fmla="*/ 7769334 h 8061801"/>
              <a:gd name="connsiteX6" fmla="*/ 6939 w 8010086"/>
              <a:gd name="connsiteY6" fmla="*/ 3768834 h 8061801"/>
              <a:gd name="connsiteX0" fmla="*/ 6 w 8003153"/>
              <a:gd name="connsiteY0" fmla="*/ 3768834 h 7779879"/>
              <a:gd name="connsiteX1" fmla="*/ 3332291 w 8003153"/>
              <a:gd name="connsiteY1" fmla="*/ 462926 h 7779879"/>
              <a:gd name="connsiteX2" fmla="*/ 6237608 w 8003153"/>
              <a:gd name="connsiteY2" fmla="*/ 454134 h 7779879"/>
              <a:gd name="connsiteX3" fmla="*/ 8001006 w 8003153"/>
              <a:gd name="connsiteY3" fmla="*/ 3768834 h 7779879"/>
              <a:gd name="connsiteX4" fmla="*/ 5885916 w 8003153"/>
              <a:gd name="connsiteY4" fmla="*/ 7312134 h 7779879"/>
              <a:gd name="connsiteX5" fmla="*/ 3349875 w 8003153"/>
              <a:gd name="connsiteY5" fmla="*/ 7303342 h 7779879"/>
              <a:gd name="connsiteX6" fmla="*/ 6 w 8003153"/>
              <a:gd name="connsiteY6" fmla="*/ 3768834 h 7779879"/>
              <a:gd name="connsiteX0" fmla="*/ 3 w 8003150"/>
              <a:gd name="connsiteY0" fmla="*/ 3768834 h 7775751"/>
              <a:gd name="connsiteX1" fmla="*/ 3332288 w 8003150"/>
              <a:gd name="connsiteY1" fmla="*/ 462926 h 7775751"/>
              <a:gd name="connsiteX2" fmla="*/ 6237605 w 8003150"/>
              <a:gd name="connsiteY2" fmla="*/ 454134 h 7775751"/>
              <a:gd name="connsiteX3" fmla="*/ 8001003 w 8003150"/>
              <a:gd name="connsiteY3" fmla="*/ 3768834 h 7775751"/>
              <a:gd name="connsiteX4" fmla="*/ 5885913 w 8003150"/>
              <a:gd name="connsiteY4" fmla="*/ 7312134 h 7775751"/>
              <a:gd name="connsiteX5" fmla="*/ 3314702 w 8003150"/>
              <a:gd name="connsiteY5" fmla="*/ 7294550 h 7775751"/>
              <a:gd name="connsiteX6" fmla="*/ 3 w 8003150"/>
              <a:gd name="connsiteY6" fmla="*/ 3768834 h 77757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35777 h 7832403"/>
              <a:gd name="connsiteX1" fmla="*/ 664079 w 5334941"/>
              <a:gd name="connsiteY1" fmla="*/ 304153 h 7832403"/>
              <a:gd name="connsiteX2" fmla="*/ 3569396 w 5334941"/>
              <a:gd name="connsiteY2" fmla="*/ 295361 h 7832403"/>
              <a:gd name="connsiteX3" fmla="*/ 5332794 w 5334941"/>
              <a:gd name="connsiteY3" fmla="*/ 3610061 h 7832403"/>
              <a:gd name="connsiteX4" fmla="*/ 3217704 w 5334941"/>
              <a:gd name="connsiteY4" fmla="*/ 7153361 h 7832403"/>
              <a:gd name="connsiteX5" fmla="*/ 646493 w 5334941"/>
              <a:gd name="connsiteY5" fmla="*/ 7135777 h 7832403"/>
              <a:gd name="connsiteX0" fmla="*/ 182720 w 4871168"/>
              <a:gd name="connsiteY0" fmla="*/ 7135777 h 7832403"/>
              <a:gd name="connsiteX1" fmla="*/ 200306 w 4871168"/>
              <a:gd name="connsiteY1" fmla="*/ 304153 h 7832403"/>
              <a:gd name="connsiteX2" fmla="*/ 3105623 w 4871168"/>
              <a:gd name="connsiteY2" fmla="*/ 295361 h 7832403"/>
              <a:gd name="connsiteX3" fmla="*/ 4869021 w 4871168"/>
              <a:gd name="connsiteY3" fmla="*/ 3610061 h 7832403"/>
              <a:gd name="connsiteX4" fmla="*/ 2753931 w 4871168"/>
              <a:gd name="connsiteY4" fmla="*/ 7153361 h 7832403"/>
              <a:gd name="connsiteX5" fmla="*/ 182720 w 4871168"/>
              <a:gd name="connsiteY5" fmla="*/ 7135777 h 7832403"/>
              <a:gd name="connsiteX0" fmla="*/ 182720 w 4871168"/>
              <a:gd name="connsiteY0" fmla="*/ 7124471 h 7821097"/>
              <a:gd name="connsiteX1" fmla="*/ 200306 w 4871168"/>
              <a:gd name="connsiteY1" fmla="*/ 292847 h 7821097"/>
              <a:gd name="connsiteX2" fmla="*/ 3105623 w 4871168"/>
              <a:gd name="connsiteY2" fmla="*/ 284055 h 7821097"/>
              <a:gd name="connsiteX3" fmla="*/ 4869021 w 4871168"/>
              <a:gd name="connsiteY3" fmla="*/ 3598755 h 7821097"/>
              <a:gd name="connsiteX4" fmla="*/ 2753931 w 4871168"/>
              <a:gd name="connsiteY4" fmla="*/ 7142055 h 7821097"/>
              <a:gd name="connsiteX5" fmla="*/ 182720 w 4871168"/>
              <a:gd name="connsiteY5" fmla="*/ 7124471 h 7821097"/>
              <a:gd name="connsiteX0" fmla="*/ 182720 w 4871168"/>
              <a:gd name="connsiteY0" fmla="*/ 7133321 h 7829947"/>
              <a:gd name="connsiteX1" fmla="*/ 200306 w 4871168"/>
              <a:gd name="connsiteY1" fmla="*/ 301697 h 7829947"/>
              <a:gd name="connsiteX2" fmla="*/ 3105623 w 4871168"/>
              <a:gd name="connsiteY2" fmla="*/ 292905 h 7829947"/>
              <a:gd name="connsiteX3" fmla="*/ 4869021 w 4871168"/>
              <a:gd name="connsiteY3" fmla="*/ 3607605 h 7829947"/>
              <a:gd name="connsiteX4" fmla="*/ 2753931 w 4871168"/>
              <a:gd name="connsiteY4" fmla="*/ 7150905 h 7829947"/>
              <a:gd name="connsiteX5" fmla="*/ 182720 w 4871168"/>
              <a:gd name="connsiteY5" fmla="*/ 7133321 h 7829947"/>
              <a:gd name="connsiteX0" fmla="*/ 186720 w 4875168"/>
              <a:gd name="connsiteY0" fmla="*/ 7137599 h 7835370"/>
              <a:gd name="connsiteX1" fmla="*/ 191837 w 4875168"/>
              <a:gd name="connsiteY1" fmla="*/ 289350 h 7835370"/>
              <a:gd name="connsiteX2" fmla="*/ 3109623 w 4875168"/>
              <a:gd name="connsiteY2" fmla="*/ 297183 h 7835370"/>
              <a:gd name="connsiteX3" fmla="*/ 4873021 w 4875168"/>
              <a:gd name="connsiteY3" fmla="*/ 3611883 h 7835370"/>
              <a:gd name="connsiteX4" fmla="*/ 2757931 w 4875168"/>
              <a:gd name="connsiteY4" fmla="*/ 7155183 h 7835370"/>
              <a:gd name="connsiteX5" fmla="*/ 186720 w 4875168"/>
              <a:gd name="connsiteY5" fmla="*/ 7137599 h 7835370"/>
              <a:gd name="connsiteX0" fmla="*/ 171307 w 4859755"/>
              <a:gd name="connsiteY0" fmla="*/ 7112714 h 7803338"/>
              <a:gd name="connsiteX1" fmla="*/ 226300 w 4859755"/>
              <a:gd name="connsiteY1" fmla="*/ 368374 h 7803338"/>
              <a:gd name="connsiteX2" fmla="*/ 3094210 w 4859755"/>
              <a:gd name="connsiteY2" fmla="*/ 272298 h 7803338"/>
              <a:gd name="connsiteX3" fmla="*/ 4857608 w 4859755"/>
              <a:gd name="connsiteY3" fmla="*/ 3586998 h 7803338"/>
              <a:gd name="connsiteX4" fmla="*/ 2742518 w 4859755"/>
              <a:gd name="connsiteY4" fmla="*/ 7130298 h 7803338"/>
              <a:gd name="connsiteX5" fmla="*/ 171307 w 4859755"/>
              <a:gd name="connsiteY5" fmla="*/ 7112714 h 7803338"/>
              <a:gd name="connsiteX0" fmla="*/ 184041 w 4872489"/>
              <a:gd name="connsiteY0" fmla="*/ 7134379 h 7831291"/>
              <a:gd name="connsiteX1" fmla="*/ 197470 w 4872489"/>
              <a:gd name="connsiteY1" fmla="*/ 298599 h 7831291"/>
              <a:gd name="connsiteX2" fmla="*/ 3106944 w 4872489"/>
              <a:gd name="connsiteY2" fmla="*/ 293963 h 7831291"/>
              <a:gd name="connsiteX3" fmla="*/ 4870342 w 4872489"/>
              <a:gd name="connsiteY3" fmla="*/ 3608663 h 7831291"/>
              <a:gd name="connsiteX4" fmla="*/ 2755252 w 4872489"/>
              <a:gd name="connsiteY4" fmla="*/ 7151963 h 7831291"/>
              <a:gd name="connsiteX5" fmla="*/ 184041 w 4872489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9716 w 4868927"/>
              <a:gd name="connsiteY0" fmla="*/ 7152851 h 7842196"/>
              <a:gd name="connsiteX1" fmla="*/ 193908 w 4868927"/>
              <a:gd name="connsiteY1" fmla="*/ 298599 h 7842196"/>
              <a:gd name="connsiteX2" fmla="*/ 3103382 w 4868927"/>
              <a:gd name="connsiteY2" fmla="*/ 293963 h 7842196"/>
              <a:gd name="connsiteX3" fmla="*/ 4866780 w 4868927"/>
              <a:gd name="connsiteY3" fmla="*/ 3608663 h 7842196"/>
              <a:gd name="connsiteX4" fmla="*/ 2751690 w 4868927"/>
              <a:gd name="connsiteY4" fmla="*/ 7151963 h 7842196"/>
              <a:gd name="connsiteX5" fmla="*/ 189716 w 4868927"/>
              <a:gd name="connsiteY5" fmla="*/ 7152851 h 7842196"/>
              <a:gd name="connsiteX0" fmla="*/ 2 w 4679213"/>
              <a:gd name="connsiteY0" fmla="*/ 7152851 h 7447842"/>
              <a:gd name="connsiteX1" fmla="*/ 4194 w 4679213"/>
              <a:gd name="connsiteY1" fmla="*/ 298599 h 7447842"/>
              <a:gd name="connsiteX2" fmla="*/ 2913668 w 4679213"/>
              <a:gd name="connsiteY2" fmla="*/ 293963 h 7447842"/>
              <a:gd name="connsiteX3" fmla="*/ 4677066 w 4679213"/>
              <a:gd name="connsiteY3" fmla="*/ 3608663 h 7447842"/>
              <a:gd name="connsiteX4" fmla="*/ 2561976 w 4679213"/>
              <a:gd name="connsiteY4" fmla="*/ 7151963 h 7447842"/>
              <a:gd name="connsiteX5" fmla="*/ 2 w 4679213"/>
              <a:gd name="connsiteY5" fmla="*/ 7152851 h 7447842"/>
              <a:gd name="connsiteX0" fmla="*/ 232986 w 4675130"/>
              <a:gd name="connsiteY0" fmla="*/ 7082039 h 7430577"/>
              <a:gd name="connsiteX1" fmla="*/ 111 w 4675130"/>
              <a:gd name="connsiteY1" fmla="*/ 298599 h 7430577"/>
              <a:gd name="connsiteX2" fmla="*/ 2909585 w 4675130"/>
              <a:gd name="connsiteY2" fmla="*/ 293963 h 7430577"/>
              <a:gd name="connsiteX3" fmla="*/ 4672983 w 4675130"/>
              <a:gd name="connsiteY3" fmla="*/ 3608663 h 7430577"/>
              <a:gd name="connsiteX4" fmla="*/ 2557893 w 4675130"/>
              <a:gd name="connsiteY4" fmla="*/ 7151963 h 7430577"/>
              <a:gd name="connsiteX5" fmla="*/ 232986 w 4675130"/>
              <a:gd name="connsiteY5" fmla="*/ 7082039 h 7430577"/>
              <a:gd name="connsiteX0" fmla="*/ 1481 w 4677613"/>
              <a:gd name="connsiteY0" fmla="*/ 7149773 h 7447048"/>
              <a:gd name="connsiteX1" fmla="*/ 2594 w 4677613"/>
              <a:gd name="connsiteY1" fmla="*/ 298599 h 7447048"/>
              <a:gd name="connsiteX2" fmla="*/ 2912068 w 4677613"/>
              <a:gd name="connsiteY2" fmla="*/ 293963 h 7447048"/>
              <a:gd name="connsiteX3" fmla="*/ 4675466 w 4677613"/>
              <a:gd name="connsiteY3" fmla="*/ 3608663 h 7447048"/>
              <a:gd name="connsiteX4" fmla="*/ 2560376 w 4677613"/>
              <a:gd name="connsiteY4" fmla="*/ 7151963 h 7447048"/>
              <a:gd name="connsiteX5" fmla="*/ 1481 w 4677613"/>
              <a:gd name="connsiteY5" fmla="*/ 7149773 h 7447048"/>
              <a:gd name="connsiteX0" fmla="*/ 165734 w 4841866"/>
              <a:gd name="connsiteY0" fmla="*/ 7139154 h 7826771"/>
              <a:gd name="connsiteX1" fmla="*/ 246896 w 4841866"/>
              <a:gd name="connsiteY1" fmla="*/ 331083 h 7826771"/>
              <a:gd name="connsiteX2" fmla="*/ 3076321 w 4841866"/>
              <a:gd name="connsiteY2" fmla="*/ 283344 h 7826771"/>
              <a:gd name="connsiteX3" fmla="*/ 4839719 w 4841866"/>
              <a:gd name="connsiteY3" fmla="*/ 3598044 h 7826771"/>
              <a:gd name="connsiteX4" fmla="*/ 2724629 w 4841866"/>
              <a:gd name="connsiteY4" fmla="*/ 7141344 h 7826771"/>
              <a:gd name="connsiteX5" fmla="*/ 165734 w 4841866"/>
              <a:gd name="connsiteY5" fmla="*/ 7139154 h 7826771"/>
              <a:gd name="connsiteX0" fmla="*/ 192597 w 4868729"/>
              <a:gd name="connsiteY0" fmla="*/ 7111990 h 7790893"/>
              <a:gd name="connsiteX1" fmla="*/ 187553 w 4868729"/>
              <a:gd name="connsiteY1" fmla="*/ 430149 h 7790893"/>
              <a:gd name="connsiteX2" fmla="*/ 3103184 w 4868729"/>
              <a:gd name="connsiteY2" fmla="*/ 256180 h 7790893"/>
              <a:gd name="connsiteX3" fmla="*/ 4866582 w 4868729"/>
              <a:gd name="connsiteY3" fmla="*/ 3570880 h 7790893"/>
              <a:gd name="connsiteX4" fmla="*/ 2751492 w 4868729"/>
              <a:gd name="connsiteY4" fmla="*/ 7114180 h 7790893"/>
              <a:gd name="connsiteX5" fmla="*/ 192597 w 4868729"/>
              <a:gd name="connsiteY5" fmla="*/ 7111990 h 7790893"/>
              <a:gd name="connsiteX0" fmla="*/ 135176 w 4811308"/>
              <a:gd name="connsiteY0" fmla="*/ 7105556 h 7782125"/>
              <a:gd name="connsiteX1" fmla="*/ 336411 w 4811308"/>
              <a:gd name="connsiteY1" fmla="*/ 457582 h 7782125"/>
              <a:gd name="connsiteX2" fmla="*/ 3045763 w 4811308"/>
              <a:gd name="connsiteY2" fmla="*/ 249746 h 7782125"/>
              <a:gd name="connsiteX3" fmla="*/ 4809161 w 4811308"/>
              <a:gd name="connsiteY3" fmla="*/ 3564446 h 7782125"/>
              <a:gd name="connsiteX4" fmla="*/ 2694071 w 4811308"/>
              <a:gd name="connsiteY4" fmla="*/ 7107746 h 7782125"/>
              <a:gd name="connsiteX5" fmla="*/ 135176 w 4811308"/>
              <a:gd name="connsiteY5" fmla="*/ 7105556 h 7782125"/>
              <a:gd name="connsiteX0" fmla="*/ 157213 w 4833345"/>
              <a:gd name="connsiteY0" fmla="*/ 7115639 h 7795816"/>
              <a:gd name="connsiteX1" fmla="*/ 269163 w 4833345"/>
              <a:gd name="connsiteY1" fmla="*/ 415325 h 7795816"/>
              <a:gd name="connsiteX2" fmla="*/ 3067800 w 4833345"/>
              <a:gd name="connsiteY2" fmla="*/ 259829 h 7795816"/>
              <a:gd name="connsiteX3" fmla="*/ 4831198 w 4833345"/>
              <a:gd name="connsiteY3" fmla="*/ 3574529 h 7795816"/>
              <a:gd name="connsiteX4" fmla="*/ 2716108 w 4833345"/>
              <a:gd name="connsiteY4" fmla="*/ 7117829 h 7795816"/>
              <a:gd name="connsiteX5" fmla="*/ 157213 w 4833345"/>
              <a:gd name="connsiteY5" fmla="*/ 7115639 h 7795816"/>
              <a:gd name="connsiteX0" fmla="*/ 156353 w 4832485"/>
              <a:gd name="connsiteY0" fmla="*/ 7115639 h 7795816"/>
              <a:gd name="connsiteX1" fmla="*/ 268303 w 4832485"/>
              <a:gd name="connsiteY1" fmla="*/ 415325 h 7795816"/>
              <a:gd name="connsiteX2" fmla="*/ 3066940 w 4832485"/>
              <a:gd name="connsiteY2" fmla="*/ 259829 h 7795816"/>
              <a:gd name="connsiteX3" fmla="*/ 4830338 w 4832485"/>
              <a:gd name="connsiteY3" fmla="*/ 3574529 h 7795816"/>
              <a:gd name="connsiteX4" fmla="*/ 2715248 w 4832485"/>
              <a:gd name="connsiteY4" fmla="*/ 7117829 h 7795816"/>
              <a:gd name="connsiteX5" fmla="*/ 156353 w 4832485"/>
              <a:gd name="connsiteY5" fmla="*/ 7115639 h 7795816"/>
              <a:gd name="connsiteX0" fmla="*/ 162218 w 4838350"/>
              <a:gd name="connsiteY0" fmla="*/ 7153758 h 7845421"/>
              <a:gd name="connsiteX1" fmla="*/ 252617 w 4838350"/>
              <a:gd name="connsiteY1" fmla="*/ 287189 h 7845421"/>
              <a:gd name="connsiteX2" fmla="*/ 3072805 w 4838350"/>
              <a:gd name="connsiteY2" fmla="*/ 297948 h 7845421"/>
              <a:gd name="connsiteX3" fmla="*/ 4836203 w 4838350"/>
              <a:gd name="connsiteY3" fmla="*/ 3612648 h 7845421"/>
              <a:gd name="connsiteX4" fmla="*/ 2721113 w 4838350"/>
              <a:gd name="connsiteY4" fmla="*/ 7155948 h 7845421"/>
              <a:gd name="connsiteX5" fmla="*/ 162218 w 4838350"/>
              <a:gd name="connsiteY5" fmla="*/ 7153758 h 7845421"/>
              <a:gd name="connsiteX0" fmla="*/ 162218 w 4838350"/>
              <a:gd name="connsiteY0" fmla="*/ 7127231 h 7811232"/>
              <a:gd name="connsiteX1" fmla="*/ 252617 w 4838350"/>
              <a:gd name="connsiteY1" fmla="*/ 371498 h 7811232"/>
              <a:gd name="connsiteX2" fmla="*/ 3072805 w 4838350"/>
              <a:gd name="connsiteY2" fmla="*/ 271421 h 7811232"/>
              <a:gd name="connsiteX3" fmla="*/ 4836203 w 4838350"/>
              <a:gd name="connsiteY3" fmla="*/ 3586121 h 7811232"/>
              <a:gd name="connsiteX4" fmla="*/ 2721113 w 4838350"/>
              <a:gd name="connsiteY4" fmla="*/ 7129421 h 7811232"/>
              <a:gd name="connsiteX5" fmla="*/ 162218 w 4838350"/>
              <a:gd name="connsiteY5" fmla="*/ 7127231 h 7811232"/>
              <a:gd name="connsiteX0" fmla="*/ 169100 w 4845232"/>
              <a:gd name="connsiteY0" fmla="*/ 7127237 h 7811238"/>
              <a:gd name="connsiteX1" fmla="*/ 259499 w 4845232"/>
              <a:gd name="connsiteY1" fmla="*/ 371504 h 7811238"/>
              <a:gd name="connsiteX2" fmla="*/ 3079687 w 4845232"/>
              <a:gd name="connsiteY2" fmla="*/ 271427 h 7811238"/>
              <a:gd name="connsiteX3" fmla="*/ 4843085 w 4845232"/>
              <a:gd name="connsiteY3" fmla="*/ 3586127 h 7811238"/>
              <a:gd name="connsiteX4" fmla="*/ 2727995 w 4845232"/>
              <a:gd name="connsiteY4" fmla="*/ 7129427 h 7811238"/>
              <a:gd name="connsiteX5" fmla="*/ 169100 w 4845232"/>
              <a:gd name="connsiteY5" fmla="*/ 7127237 h 7811238"/>
              <a:gd name="connsiteX0" fmla="*/ 219843 w 4895975"/>
              <a:gd name="connsiteY0" fmla="*/ 7118137 h 7799163"/>
              <a:gd name="connsiteX1" fmla="*/ 162460 w 4895975"/>
              <a:gd name="connsiteY1" fmla="*/ 405507 h 7799163"/>
              <a:gd name="connsiteX2" fmla="*/ 3130430 w 4895975"/>
              <a:gd name="connsiteY2" fmla="*/ 262327 h 7799163"/>
              <a:gd name="connsiteX3" fmla="*/ 4893828 w 4895975"/>
              <a:gd name="connsiteY3" fmla="*/ 3577027 h 7799163"/>
              <a:gd name="connsiteX4" fmla="*/ 2778738 w 4895975"/>
              <a:gd name="connsiteY4" fmla="*/ 7120327 h 7799163"/>
              <a:gd name="connsiteX5" fmla="*/ 219843 w 4895975"/>
              <a:gd name="connsiteY5" fmla="*/ 7118137 h 7799163"/>
              <a:gd name="connsiteX0" fmla="*/ 202277 w 4878409"/>
              <a:gd name="connsiteY0" fmla="*/ 7113808 h 7793348"/>
              <a:gd name="connsiteX1" fmla="*/ 191076 w 4878409"/>
              <a:gd name="connsiteY1" fmla="*/ 422730 h 7793348"/>
              <a:gd name="connsiteX2" fmla="*/ 3112864 w 4878409"/>
              <a:gd name="connsiteY2" fmla="*/ 257998 h 7793348"/>
              <a:gd name="connsiteX3" fmla="*/ 4876262 w 4878409"/>
              <a:gd name="connsiteY3" fmla="*/ 3572698 h 7793348"/>
              <a:gd name="connsiteX4" fmla="*/ 2761172 w 4878409"/>
              <a:gd name="connsiteY4" fmla="*/ 7115998 h 7793348"/>
              <a:gd name="connsiteX5" fmla="*/ 202277 w 4878409"/>
              <a:gd name="connsiteY5" fmla="*/ 7113808 h 7793348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85583 w 4761715"/>
              <a:gd name="connsiteY0" fmla="*/ 7107672 h 7785019"/>
              <a:gd name="connsiteX1" fmla="*/ 82333 w 4761715"/>
              <a:gd name="connsiteY1" fmla="*/ 448399 h 7785019"/>
              <a:gd name="connsiteX2" fmla="*/ 2996170 w 4761715"/>
              <a:gd name="connsiteY2" fmla="*/ 251862 h 7785019"/>
              <a:gd name="connsiteX3" fmla="*/ 4759568 w 4761715"/>
              <a:gd name="connsiteY3" fmla="*/ 3566562 h 7785019"/>
              <a:gd name="connsiteX4" fmla="*/ 2644478 w 4761715"/>
              <a:gd name="connsiteY4" fmla="*/ 7109862 h 7785019"/>
              <a:gd name="connsiteX5" fmla="*/ 85583 w 4761715"/>
              <a:gd name="connsiteY5" fmla="*/ 7107672 h 7785019"/>
              <a:gd name="connsiteX0" fmla="*/ 85583 w 4761715"/>
              <a:gd name="connsiteY0" fmla="*/ 7074631 h 7751978"/>
              <a:gd name="connsiteX1" fmla="*/ 82333 w 4761715"/>
              <a:gd name="connsiteY1" fmla="*/ 415358 h 7751978"/>
              <a:gd name="connsiteX2" fmla="*/ 2996170 w 4761715"/>
              <a:gd name="connsiteY2" fmla="*/ 218821 h 7751978"/>
              <a:gd name="connsiteX3" fmla="*/ 4759568 w 4761715"/>
              <a:gd name="connsiteY3" fmla="*/ 3533521 h 7751978"/>
              <a:gd name="connsiteX4" fmla="*/ 2644478 w 4761715"/>
              <a:gd name="connsiteY4" fmla="*/ 7076821 h 7751978"/>
              <a:gd name="connsiteX5" fmla="*/ 85583 w 4761715"/>
              <a:gd name="connsiteY5" fmla="*/ 7074631 h 7751978"/>
              <a:gd name="connsiteX0" fmla="*/ 157610 w 4833742"/>
              <a:gd name="connsiteY0" fmla="*/ 7074631 h 7751978"/>
              <a:gd name="connsiteX1" fmla="*/ 154360 w 4833742"/>
              <a:gd name="connsiteY1" fmla="*/ 415358 h 7751978"/>
              <a:gd name="connsiteX2" fmla="*/ 3068197 w 4833742"/>
              <a:gd name="connsiteY2" fmla="*/ 218821 h 7751978"/>
              <a:gd name="connsiteX3" fmla="*/ 4831595 w 4833742"/>
              <a:gd name="connsiteY3" fmla="*/ 3533521 h 7751978"/>
              <a:gd name="connsiteX4" fmla="*/ 2716505 w 4833742"/>
              <a:gd name="connsiteY4" fmla="*/ 7076821 h 7751978"/>
              <a:gd name="connsiteX5" fmla="*/ 157610 w 4833742"/>
              <a:gd name="connsiteY5" fmla="*/ 7074631 h 7751978"/>
              <a:gd name="connsiteX0" fmla="*/ 345911 w 5022043"/>
              <a:gd name="connsiteY0" fmla="*/ 7098958 h 7776305"/>
              <a:gd name="connsiteX1" fmla="*/ 342661 w 5022043"/>
              <a:gd name="connsiteY1" fmla="*/ 439685 h 7776305"/>
              <a:gd name="connsiteX2" fmla="*/ 3256498 w 5022043"/>
              <a:gd name="connsiteY2" fmla="*/ 243148 h 7776305"/>
              <a:gd name="connsiteX3" fmla="*/ 5019896 w 5022043"/>
              <a:gd name="connsiteY3" fmla="*/ 3557848 h 7776305"/>
              <a:gd name="connsiteX4" fmla="*/ 2904806 w 5022043"/>
              <a:gd name="connsiteY4" fmla="*/ 7101148 h 7776305"/>
              <a:gd name="connsiteX5" fmla="*/ 345911 w 5022043"/>
              <a:gd name="connsiteY5" fmla="*/ 7098958 h 7776305"/>
              <a:gd name="connsiteX0" fmla="*/ 190117 w 4866249"/>
              <a:gd name="connsiteY0" fmla="*/ 7193225 h 7870572"/>
              <a:gd name="connsiteX1" fmla="*/ 186867 w 4866249"/>
              <a:gd name="connsiteY1" fmla="*/ 533952 h 7870572"/>
              <a:gd name="connsiteX2" fmla="*/ 3100704 w 4866249"/>
              <a:gd name="connsiteY2" fmla="*/ 337415 h 7870572"/>
              <a:gd name="connsiteX3" fmla="*/ 4864102 w 4866249"/>
              <a:gd name="connsiteY3" fmla="*/ 3652115 h 7870572"/>
              <a:gd name="connsiteX4" fmla="*/ 2749012 w 4866249"/>
              <a:gd name="connsiteY4" fmla="*/ 7195415 h 7870572"/>
              <a:gd name="connsiteX5" fmla="*/ 190117 w 4866249"/>
              <a:gd name="connsiteY5" fmla="*/ 7193225 h 7870572"/>
              <a:gd name="connsiteX0" fmla="*/ 188894 w 4865026"/>
              <a:gd name="connsiteY0" fmla="*/ 7274677 h 7967496"/>
              <a:gd name="connsiteX1" fmla="*/ 189317 w 4865026"/>
              <a:gd name="connsiteY1" fmla="*/ 391394 h 7967496"/>
              <a:gd name="connsiteX2" fmla="*/ 3099481 w 4865026"/>
              <a:gd name="connsiteY2" fmla="*/ 418867 h 7967496"/>
              <a:gd name="connsiteX3" fmla="*/ 4862879 w 4865026"/>
              <a:gd name="connsiteY3" fmla="*/ 3733567 h 7967496"/>
              <a:gd name="connsiteX4" fmla="*/ 2747789 w 4865026"/>
              <a:gd name="connsiteY4" fmla="*/ 7276867 h 7967496"/>
              <a:gd name="connsiteX5" fmla="*/ 188894 w 4865026"/>
              <a:gd name="connsiteY5" fmla="*/ 7274677 h 7967496"/>
              <a:gd name="connsiteX0" fmla="*/ 192591 w 4868723"/>
              <a:gd name="connsiteY0" fmla="*/ 7277850 h 7971178"/>
              <a:gd name="connsiteX1" fmla="*/ 181997 w 4868723"/>
              <a:gd name="connsiteY1" fmla="*/ 387222 h 7971178"/>
              <a:gd name="connsiteX2" fmla="*/ 3103178 w 4868723"/>
              <a:gd name="connsiteY2" fmla="*/ 422040 h 7971178"/>
              <a:gd name="connsiteX3" fmla="*/ 4866576 w 4868723"/>
              <a:gd name="connsiteY3" fmla="*/ 3736740 h 7971178"/>
              <a:gd name="connsiteX4" fmla="*/ 2751486 w 4868723"/>
              <a:gd name="connsiteY4" fmla="*/ 7280040 h 7971178"/>
              <a:gd name="connsiteX5" fmla="*/ 192591 w 4868723"/>
              <a:gd name="connsiteY5" fmla="*/ 7277850 h 7971178"/>
              <a:gd name="connsiteX0" fmla="*/ 193427 w 4869559"/>
              <a:gd name="connsiteY0" fmla="*/ 7163116 h 7856444"/>
              <a:gd name="connsiteX1" fmla="*/ 182833 w 4869559"/>
              <a:gd name="connsiteY1" fmla="*/ 272488 h 7856444"/>
              <a:gd name="connsiteX2" fmla="*/ 3104014 w 4869559"/>
              <a:gd name="connsiteY2" fmla="*/ 307306 h 7856444"/>
              <a:gd name="connsiteX3" fmla="*/ 4867412 w 4869559"/>
              <a:gd name="connsiteY3" fmla="*/ 3622006 h 7856444"/>
              <a:gd name="connsiteX4" fmla="*/ 2752322 w 4869559"/>
              <a:gd name="connsiteY4" fmla="*/ 7165306 h 7856444"/>
              <a:gd name="connsiteX5" fmla="*/ 193427 w 4869559"/>
              <a:gd name="connsiteY5" fmla="*/ 7163116 h 7856444"/>
              <a:gd name="connsiteX0" fmla="*/ 170155 w 4846287"/>
              <a:gd name="connsiteY0" fmla="*/ 7143047 h 7831040"/>
              <a:gd name="connsiteX1" fmla="*/ 233007 w 4846287"/>
              <a:gd name="connsiteY1" fmla="*/ 329537 h 7831040"/>
              <a:gd name="connsiteX2" fmla="*/ 3080742 w 4846287"/>
              <a:gd name="connsiteY2" fmla="*/ 287237 h 7831040"/>
              <a:gd name="connsiteX3" fmla="*/ 4844140 w 4846287"/>
              <a:gd name="connsiteY3" fmla="*/ 3601937 h 7831040"/>
              <a:gd name="connsiteX4" fmla="*/ 2729050 w 4846287"/>
              <a:gd name="connsiteY4" fmla="*/ 7145237 h 7831040"/>
              <a:gd name="connsiteX5" fmla="*/ 170155 w 4846287"/>
              <a:gd name="connsiteY5" fmla="*/ 7143047 h 7831040"/>
              <a:gd name="connsiteX0" fmla="*/ 188486 w 4864618"/>
              <a:gd name="connsiteY0" fmla="*/ 7162098 h 7855172"/>
              <a:gd name="connsiteX1" fmla="*/ 192581 w 4864618"/>
              <a:gd name="connsiteY1" fmla="*/ 275143 h 7855172"/>
              <a:gd name="connsiteX2" fmla="*/ 3099073 w 4864618"/>
              <a:gd name="connsiteY2" fmla="*/ 306288 h 7855172"/>
              <a:gd name="connsiteX3" fmla="*/ 4862471 w 4864618"/>
              <a:gd name="connsiteY3" fmla="*/ 3620988 h 7855172"/>
              <a:gd name="connsiteX4" fmla="*/ 2747381 w 4864618"/>
              <a:gd name="connsiteY4" fmla="*/ 7164288 h 7855172"/>
              <a:gd name="connsiteX5" fmla="*/ 188486 w 4864618"/>
              <a:gd name="connsiteY5" fmla="*/ 7162098 h 785517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181559 h 7874633"/>
              <a:gd name="connsiteX1" fmla="*/ 344138 w 5016181"/>
              <a:gd name="connsiteY1" fmla="*/ 294604 h 7874633"/>
              <a:gd name="connsiteX2" fmla="*/ 3254303 w 5016181"/>
              <a:gd name="connsiteY2" fmla="*/ 296371 h 7874633"/>
              <a:gd name="connsiteX3" fmla="*/ 5014028 w 5016181"/>
              <a:gd name="connsiteY3" fmla="*/ 3640449 h 7874633"/>
              <a:gd name="connsiteX4" fmla="*/ 2898938 w 5016181"/>
              <a:gd name="connsiteY4" fmla="*/ 7183749 h 7874633"/>
              <a:gd name="connsiteX5" fmla="*/ 340043 w 5016181"/>
              <a:gd name="connsiteY5" fmla="*/ 7181559 h 7874633"/>
              <a:gd name="connsiteX0" fmla="*/ 340043 w 5016181"/>
              <a:gd name="connsiteY0" fmla="*/ 7183197 h 7876271"/>
              <a:gd name="connsiteX1" fmla="*/ 344138 w 5016181"/>
              <a:gd name="connsiteY1" fmla="*/ 296242 h 7876271"/>
              <a:gd name="connsiteX2" fmla="*/ 3254303 w 5016181"/>
              <a:gd name="connsiteY2" fmla="*/ 298009 h 7876271"/>
              <a:gd name="connsiteX3" fmla="*/ 5014028 w 5016181"/>
              <a:gd name="connsiteY3" fmla="*/ 3642087 h 7876271"/>
              <a:gd name="connsiteX4" fmla="*/ 2898938 w 5016181"/>
              <a:gd name="connsiteY4" fmla="*/ 7185387 h 7876271"/>
              <a:gd name="connsiteX5" fmla="*/ 340043 w 5016181"/>
              <a:gd name="connsiteY5" fmla="*/ 7183197 h 7876271"/>
              <a:gd name="connsiteX0" fmla="*/ 340043 w 5016181"/>
              <a:gd name="connsiteY0" fmla="*/ 7184031 h 7877324"/>
              <a:gd name="connsiteX1" fmla="*/ 344138 w 5016181"/>
              <a:gd name="connsiteY1" fmla="*/ 293901 h 7877324"/>
              <a:gd name="connsiteX2" fmla="*/ 3254303 w 5016181"/>
              <a:gd name="connsiteY2" fmla="*/ 298843 h 7877324"/>
              <a:gd name="connsiteX3" fmla="*/ 5014028 w 5016181"/>
              <a:gd name="connsiteY3" fmla="*/ 3642921 h 7877324"/>
              <a:gd name="connsiteX4" fmla="*/ 2898938 w 5016181"/>
              <a:gd name="connsiteY4" fmla="*/ 7186221 h 7877324"/>
              <a:gd name="connsiteX5" fmla="*/ 340043 w 5016181"/>
              <a:gd name="connsiteY5" fmla="*/ 7184031 h 7877324"/>
              <a:gd name="connsiteX0" fmla="*/ 338200 w 5014338"/>
              <a:gd name="connsiteY0" fmla="*/ 7184031 h 7877324"/>
              <a:gd name="connsiteX1" fmla="*/ 345470 w 5014338"/>
              <a:gd name="connsiteY1" fmla="*/ 293901 h 7877324"/>
              <a:gd name="connsiteX2" fmla="*/ 3252460 w 5014338"/>
              <a:gd name="connsiteY2" fmla="*/ 298843 h 7877324"/>
              <a:gd name="connsiteX3" fmla="*/ 5012185 w 5014338"/>
              <a:gd name="connsiteY3" fmla="*/ 3642921 h 7877324"/>
              <a:gd name="connsiteX4" fmla="*/ 2897095 w 5014338"/>
              <a:gd name="connsiteY4" fmla="*/ 7186221 h 7877324"/>
              <a:gd name="connsiteX5" fmla="*/ 338200 w 5014338"/>
              <a:gd name="connsiteY5" fmla="*/ 7184031 h 7877324"/>
              <a:gd name="connsiteX0" fmla="*/ 338200 w 5014338"/>
              <a:gd name="connsiteY0" fmla="*/ 7183318 h 7876611"/>
              <a:gd name="connsiteX1" fmla="*/ 345470 w 5014338"/>
              <a:gd name="connsiteY1" fmla="*/ 293188 h 7876611"/>
              <a:gd name="connsiteX2" fmla="*/ 3252460 w 5014338"/>
              <a:gd name="connsiteY2" fmla="*/ 298130 h 7876611"/>
              <a:gd name="connsiteX3" fmla="*/ 5012185 w 5014338"/>
              <a:gd name="connsiteY3" fmla="*/ 3642208 h 7876611"/>
              <a:gd name="connsiteX4" fmla="*/ 2897095 w 5014338"/>
              <a:gd name="connsiteY4" fmla="*/ 7185508 h 7876611"/>
              <a:gd name="connsiteX5" fmla="*/ 338200 w 5014338"/>
              <a:gd name="connsiteY5" fmla="*/ 7183318 h 7876611"/>
              <a:gd name="connsiteX0" fmla="*/ 189227 w 4865365"/>
              <a:gd name="connsiteY0" fmla="*/ 7183318 h 7876611"/>
              <a:gd name="connsiteX1" fmla="*/ 196497 w 4865365"/>
              <a:gd name="connsiteY1" fmla="*/ 293188 h 7876611"/>
              <a:gd name="connsiteX2" fmla="*/ 3103487 w 4865365"/>
              <a:gd name="connsiteY2" fmla="*/ 298130 h 7876611"/>
              <a:gd name="connsiteX3" fmla="*/ 4863212 w 4865365"/>
              <a:gd name="connsiteY3" fmla="*/ 3642208 h 7876611"/>
              <a:gd name="connsiteX4" fmla="*/ 2748122 w 4865365"/>
              <a:gd name="connsiteY4" fmla="*/ 7185508 h 7876611"/>
              <a:gd name="connsiteX5" fmla="*/ 189227 w 4865365"/>
              <a:gd name="connsiteY5" fmla="*/ 7183318 h 7876611"/>
              <a:gd name="connsiteX0" fmla="*/ 192432 w 4868570"/>
              <a:gd name="connsiteY0" fmla="*/ 7183318 h 7876611"/>
              <a:gd name="connsiteX1" fmla="*/ 190177 w 4868570"/>
              <a:gd name="connsiteY1" fmla="*/ 293188 h 7876611"/>
              <a:gd name="connsiteX2" fmla="*/ 3106692 w 4868570"/>
              <a:gd name="connsiteY2" fmla="*/ 298130 h 7876611"/>
              <a:gd name="connsiteX3" fmla="*/ 4866417 w 4868570"/>
              <a:gd name="connsiteY3" fmla="*/ 3642208 h 7876611"/>
              <a:gd name="connsiteX4" fmla="*/ 2751327 w 4868570"/>
              <a:gd name="connsiteY4" fmla="*/ 7185508 h 7876611"/>
              <a:gd name="connsiteX5" fmla="*/ 192432 w 4868570"/>
              <a:gd name="connsiteY5" fmla="*/ 7183318 h 7876611"/>
              <a:gd name="connsiteX0" fmla="*/ 190287 w 4866425"/>
              <a:gd name="connsiteY0" fmla="*/ 7183318 h 7876611"/>
              <a:gd name="connsiteX1" fmla="*/ 188032 w 4866425"/>
              <a:gd name="connsiteY1" fmla="*/ 293188 h 7876611"/>
              <a:gd name="connsiteX2" fmla="*/ 3104547 w 4866425"/>
              <a:gd name="connsiteY2" fmla="*/ 298130 h 7876611"/>
              <a:gd name="connsiteX3" fmla="*/ 4864272 w 4866425"/>
              <a:gd name="connsiteY3" fmla="*/ 3642208 h 7876611"/>
              <a:gd name="connsiteX4" fmla="*/ 2749182 w 4866425"/>
              <a:gd name="connsiteY4" fmla="*/ 7185508 h 7876611"/>
              <a:gd name="connsiteX5" fmla="*/ 190287 w 4866425"/>
              <a:gd name="connsiteY5" fmla="*/ 7183318 h 7876611"/>
              <a:gd name="connsiteX0" fmla="*/ 190287 w 4866425"/>
              <a:gd name="connsiteY0" fmla="*/ 7154743 h 7859802"/>
              <a:gd name="connsiteX1" fmla="*/ 188032 w 4866425"/>
              <a:gd name="connsiteY1" fmla="*/ 293188 h 7859802"/>
              <a:gd name="connsiteX2" fmla="*/ 3104547 w 4866425"/>
              <a:gd name="connsiteY2" fmla="*/ 298130 h 7859802"/>
              <a:gd name="connsiteX3" fmla="*/ 4864272 w 4866425"/>
              <a:gd name="connsiteY3" fmla="*/ 3642208 h 7859802"/>
              <a:gd name="connsiteX4" fmla="*/ 2749182 w 4866425"/>
              <a:gd name="connsiteY4" fmla="*/ 7185508 h 7859802"/>
              <a:gd name="connsiteX5" fmla="*/ 190287 w 4866425"/>
              <a:gd name="connsiteY5" fmla="*/ 7154743 h 7859802"/>
              <a:gd name="connsiteX0" fmla="*/ 2255 w 4678393"/>
              <a:gd name="connsiteY0" fmla="*/ 7154743 h 7872894"/>
              <a:gd name="connsiteX1" fmla="*/ 0 w 4678393"/>
              <a:gd name="connsiteY1" fmla="*/ 293188 h 7872894"/>
              <a:gd name="connsiteX2" fmla="*/ 2916515 w 4678393"/>
              <a:gd name="connsiteY2" fmla="*/ 298130 h 7872894"/>
              <a:gd name="connsiteX3" fmla="*/ 4676240 w 4678393"/>
              <a:gd name="connsiteY3" fmla="*/ 3642208 h 7872894"/>
              <a:gd name="connsiteX4" fmla="*/ 2561150 w 4678393"/>
              <a:gd name="connsiteY4" fmla="*/ 7185508 h 7872894"/>
              <a:gd name="connsiteX5" fmla="*/ 2255 w 4678393"/>
              <a:gd name="connsiteY5" fmla="*/ 7154743 h 7872894"/>
              <a:gd name="connsiteX0" fmla="*/ 2822 w 4678960"/>
              <a:gd name="connsiteY0" fmla="*/ 7154743 h 7874206"/>
              <a:gd name="connsiteX1" fmla="*/ 567 w 4678960"/>
              <a:gd name="connsiteY1" fmla="*/ 293188 h 7874206"/>
              <a:gd name="connsiteX2" fmla="*/ 2917082 w 4678960"/>
              <a:gd name="connsiteY2" fmla="*/ 298130 h 7874206"/>
              <a:gd name="connsiteX3" fmla="*/ 4676807 w 4678960"/>
              <a:gd name="connsiteY3" fmla="*/ 3642208 h 7874206"/>
              <a:gd name="connsiteX4" fmla="*/ 2561717 w 4678960"/>
              <a:gd name="connsiteY4" fmla="*/ 7185508 h 7874206"/>
              <a:gd name="connsiteX5" fmla="*/ 2822 w 4678960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473936"/>
              <a:gd name="connsiteX1" fmla="*/ 0 w 4678393"/>
              <a:gd name="connsiteY1" fmla="*/ 293188 h 7473936"/>
              <a:gd name="connsiteX2" fmla="*/ 2916515 w 4678393"/>
              <a:gd name="connsiteY2" fmla="*/ 298130 h 7473936"/>
              <a:gd name="connsiteX3" fmla="*/ 4676240 w 4678393"/>
              <a:gd name="connsiteY3" fmla="*/ 3642208 h 7473936"/>
              <a:gd name="connsiteX4" fmla="*/ 2561150 w 4678393"/>
              <a:gd name="connsiteY4" fmla="*/ 7185508 h 7473936"/>
              <a:gd name="connsiteX5" fmla="*/ 2255 w 4678393"/>
              <a:gd name="connsiteY5" fmla="*/ 7154743 h 7473936"/>
              <a:gd name="connsiteX0" fmla="*/ 2255 w 4678393"/>
              <a:gd name="connsiteY0" fmla="*/ 7154743 h 7450206"/>
              <a:gd name="connsiteX1" fmla="*/ 0 w 4678393"/>
              <a:gd name="connsiteY1" fmla="*/ 293188 h 7450206"/>
              <a:gd name="connsiteX2" fmla="*/ 2916515 w 4678393"/>
              <a:gd name="connsiteY2" fmla="*/ 298130 h 7450206"/>
              <a:gd name="connsiteX3" fmla="*/ 4676240 w 4678393"/>
              <a:gd name="connsiteY3" fmla="*/ 3642208 h 7450206"/>
              <a:gd name="connsiteX4" fmla="*/ 2564325 w 4678393"/>
              <a:gd name="connsiteY4" fmla="*/ 7153758 h 7450206"/>
              <a:gd name="connsiteX5" fmla="*/ 2255 w 4678393"/>
              <a:gd name="connsiteY5" fmla="*/ 7154743 h 7450206"/>
              <a:gd name="connsiteX0" fmla="*/ 2255 w 4678393"/>
              <a:gd name="connsiteY0" fmla="*/ 7154743 h 7154743"/>
              <a:gd name="connsiteX1" fmla="*/ 0 w 4678393"/>
              <a:gd name="connsiteY1" fmla="*/ 293188 h 7154743"/>
              <a:gd name="connsiteX2" fmla="*/ 2916515 w 4678393"/>
              <a:gd name="connsiteY2" fmla="*/ 298130 h 7154743"/>
              <a:gd name="connsiteX3" fmla="*/ 4676240 w 4678393"/>
              <a:gd name="connsiteY3" fmla="*/ 3642208 h 7154743"/>
              <a:gd name="connsiteX4" fmla="*/ 2564325 w 4678393"/>
              <a:gd name="connsiteY4" fmla="*/ 7153758 h 7154743"/>
              <a:gd name="connsiteX5" fmla="*/ 2255 w 4678393"/>
              <a:gd name="connsiteY5" fmla="*/ 7154743 h 7154743"/>
              <a:gd name="connsiteX0" fmla="*/ 2255 w 4678393"/>
              <a:gd name="connsiteY0" fmla="*/ 6861555 h 6861555"/>
              <a:gd name="connsiteX1" fmla="*/ 0 w 4678393"/>
              <a:gd name="connsiteY1" fmla="*/ 0 h 6861555"/>
              <a:gd name="connsiteX2" fmla="*/ 2916515 w 4678393"/>
              <a:gd name="connsiteY2" fmla="*/ 4942 h 6861555"/>
              <a:gd name="connsiteX3" fmla="*/ 4676240 w 4678393"/>
              <a:gd name="connsiteY3" fmla="*/ 3349020 h 6861555"/>
              <a:gd name="connsiteX4" fmla="*/ 2564325 w 4678393"/>
              <a:gd name="connsiteY4" fmla="*/ 6860570 h 6861555"/>
              <a:gd name="connsiteX5" fmla="*/ 2255 w 4678393"/>
              <a:gd name="connsiteY5" fmla="*/ 6861555 h 6861555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9009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8377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3061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71578"/>
              <a:gd name="connsiteX1" fmla="*/ 0 w 4678399"/>
              <a:gd name="connsiteY1" fmla="*/ 1408 h 6871578"/>
              <a:gd name="connsiteX2" fmla="*/ 2919690 w 4678399"/>
              <a:gd name="connsiteY2" fmla="*/ 0 h 6871578"/>
              <a:gd name="connsiteX3" fmla="*/ 4676240 w 4678399"/>
              <a:gd name="connsiteY3" fmla="*/ 3350428 h 6871578"/>
              <a:gd name="connsiteX4" fmla="*/ 2521796 w 4678399"/>
              <a:gd name="connsiteY4" fmla="*/ 6871578 h 6871578"/>
              <a:gd name="connsiteX5" fmla="*/ 2255 w 4678399"/>
              <a:gd name="connsiteY5" fmla="*/ 6862963 h 6871578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6240" h="6862963">
                <a:moveTo>
                  <a:pt x="2255" y="6862963"/>
                </a:moveTo>
                <a:cubicBezTo>
                  <a:pt x="847" y="5679318"/>
                  <a:pt x="65" y="1117189"/>
                  <a:pt x="0" y="1408"/>
                </a:cubicBezTo>
                <a:lnTo>
                  <a:pt x="2919690" y="0"/>
                </a:lnTo>
                <a:cubicBezTo>
                  <a:pt x="3347209" y="321191"/>
                  <a:pt x="4644479" y="1245147"/>
                  <a:pt x="4676240" y="3350428"/>
                </a:cubicBezTo>
                <a:cubicBezTo>
                  <a:pt x="4625578" y="5097946"/>
                  <a:pt x="3667890" y="6255680"/>
                  <a:pt x="2516480" y="6860945"/>
                </a:cubicBezTo>
                <a:lnTo>
                  <a:pt x="2255" y="6862963"/>
                </a:lnTo>
                <a:close/>
              </a:path>
            </a:pathLst>
          </a:custGeom>
          <a:ln>
            <a:noFill/>
          </a:ln>
          <a:extLst>
            <a:ext uri="{91240B29-F687-4f45-9708-019B960494DF}"/>
          </a:extLst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8461" y="110949"/>
            <a:ext cx="6882540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28461" y="1533600"/>
            <a:ext cx="688254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928461" y="2174400"/>
            <a:ext cx="688254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7628057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2"/>
          <p:cNvSpPr>
            <a:spLocks noGrp="1"/>
          </p:cNvSpPr>
          <p:nvPr>
            <p:ph type="title"/>
          </p:nvPr>
        </p:nvSpPr>
        <p:spPr>
          <a:xfrm>
            <a:off x="1481327" y="2152650"/>
            <a:ext cx="10058400" cy="2552700"/>
          </a:xfrm>
          <a:prstGeom prst="rect">
            <a:avLst/>
          </a:prstGeom>
        </p:spPr>
        <p:txBody>
          <a:bodyPr vert="horz" anchor="ctr"/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5497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64A7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noun_leaves_157488.png"/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10393">
            <a:off x="1585265" y="2702403"/>
            <a:ext cx="1453194" cy="1453194"/>
          </a:xfrm>
          <a:prstGeom prst="rect">
            <a:avLst/>
          </a:prstGeom>
        </p:spPr>
      </p:pic>
      <p:sp>
        <p:nvSpPr>
          <p:cNvPr id="3" name="TextBox 4"/>
          <p:cNvSpPr txBox="1">
            <a:spLocks noChangeArrowheads="1"/>
          </p:cNvSpPr>
          <p:nvPr userDrawn="1"/>
        </p:nvSpPr>
        <p:spPr bwMode="auto">
          <a:xfrm>
            <a:off x="3119438" y="2905125"/>
            <a:ext cx="4700587" cy="104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4400">
                <a:solidFill>
                  <a:schemeClr val="bg1"/>
                </a:solidFill>
                <a:cs typeface="Arial" panose="020B0604020202020204" pitchFamily="34" charset="0"/>
              </a:rPr>
              <a:t>IDEXX is green</a:t>
            </a:r>
          </a:p>
          <a:p>
            <a:pPr eaLnBrk="1" hangingPunct="1"/>
            <a:r>
              <a:rPr lang="en-US" altLang="en-US">
                <a:solidFill>
                  <a:schemeClr val="bg1"/>
                </a:solidFill>
                <a:cs typeface="Arial" panose="020B0604020202020204" pitchFamily="34" charset="0"/>
              </a:rPr>
              <a:t>Please project (don’t print)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406712411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new-idexx-color-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3300" y="3194050"/>
            <a:ext cx="25654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900500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81000" y="1601788"/>
            <a:ext cx="11430000" cy="45259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6765327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789884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F9D744F-A08B-5145-BBEA-D42E6BD319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" y="1533600"/>
            <a:ext cx="4430684" cy="44306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6563666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5868DF8-0066-C04C-B523-8450D0A451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533600"/>
            <a:ext cx="560134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D81E9A-BFAC-2649-8EA2-1E71B0607B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2174400"/>
            <a:ext cx="5601346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AB4DA10-386C-0E45-8192-A2D9EB1279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9322" y="1534150"/>
            <a:ext cx="5611678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BA2A10C-A80A-324D-B7BC-4A1C81054B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9322" y="2174950"/>
            <a:ext cx="5611678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0859221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789884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F9D744F-A08B-5145-BBEA-D42E6BD319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" y="1533600"/>
            <a:ext cx="4430684" cy="44306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8360367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381000" y="1533600"/>
            <a:ext cx="4590288" cy="4593600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3995362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 bwMode="ltGray">
          <a:xfrm>
            <a:off x="0" y="-9254"/>
            <a:ext cx="4672584" cy="6867254"/>
          </a:xfrm>
          <a:custGeom>
            <a:avLst/>
            <a:gdLst>
              <a:gd name="connsiteX0" fmla="*/ 0 w 8001000"/>
              <a:gd name="connsiteY0" fmla="*/ 4000500 h 8001000"/>
              <a:gd name="connsiteX1" fmla="*/ 4000500 w 8001000"/>
              <a:gd name="connsiteY1" fmla="*/ 0 h 8001000"/>
              <a:gd name="connsiteX2" fmla="*/ 8001000 w 8001000"/>
              <a:gd name="connsiteY2" fmla="*/ 4000500 h 8001000"/>
              <a:gd name="connsiteX3" fmla="*/ 4000500 w 8001000"/>
              <a:gd name="connsiteY3" fmla="*/ 8001000 h 8001000"/>
              <a:gd name="connsiteX4" fmla="*/ 0 w 8001000"/>
              <a:gd name="connsiteY4" fmla="*/ 4000500 h 8001000"/>
              <a:gd name="connsiteX0" fmla="*/ 0 w 8060683"/>
              <a:gd name="connsiteY0" fmla="*/ 4222799 h 8223299"/>
              <a:gd name="connsiteX1" fmla="*/ 4000500 w 8060683"/>
              <a:gd name="connsiteY1" fmla="*/ 222299 h 8223299"/>
              <a:gd name="connsiteX2" fmla="*/ 6237602 w 8060683"/>
              <a:gd name="connsiteY2" fmla="*/ 908099 h 8223299"/>
              <a:gd name="connsiteX3" fmla="*/ 8001000 w 8060683"/>
              <a:gd name="connsiteY3" fmla="*/ 4222799 h 8223299"/>
              <a:gd name="connsiteX4" fmla="*/ 4000500 w 8060683"/>
              <a:gd name="connsiteY4" fmla="*/ 8223299 h 8223299"/>
              <a:gd name="connsiteX5" fmla="*/ 0 w 8060683"/>
              <a:gd name="connsiteY5" fmla="*/ 4222799 h 8223299"/>
              <a:gd name="connsiteX0" fmla="*/ 8055 w 8068738"/>
              <a:gd name="connsiteY0" fmla="*/ 3760842 h 7761342"/>
              <a:gd name="connsiteX1" fmla="*/ 3296378 w 8068738"/>
              <a:gd name="connsiteY1" fmla="*/ 472519 h 7761342"/>
              <a:gd name="connsiteX2" fmla="*/ 6245657 w 8068738"/>
              <a:gd name="connsiteY2" fmla="*/ 446142 h 7761342"/>
              <a:gd name="connsiteX3" fmla="*/ 8009055 w 8068738"/>
              <a:gd name="connsiteY3" fmla="*/ 3760842 h 7761342"/>
              <a:gd name="connsiteX4" fmla="*/ 4008555 w 8068738"/>
              <a:gd name="connsiteY4" fmla="*/ 7761342 h 7761342"/>
              <a:gd name="connsiteX5" fmla="*/ 8055 w 8068738"/>
              <a:gd name="connsiteY5" fmla="*/ 3760842 h 7761342"/>
              <a:gd name="connsiteX0" fmla="*/ 6123 w 8066806"/>
              <a:gd name="connsiteY0" fmla="*/ 3768834 h 7769334"/>
              <a:gd name="connsiteX1" fmla="*/ 3373577 w 8066806"/>
              <a:gd name="connsiteY1" fmla="*/ 462926 h 7769334"/>
              <a:gd name="connsiteX2" fmla="*/ 6243725 w 8066806"/>
              <a:gd name="connsiteY2" fmla="*/ 454134 h 7769334"/>
              <a:gd name="connsiteX3" fmla="*/ 8007123 w 8066806"/>
              <a:gd name="connsiteY3" fmla="*/ 3768834 h 7769334"/>
              <a:gd name="connsiteX4" fmla="*/ 4006623 w 8066806"/>
              <a:gd name="connsiteY4" fmla="*/ 7769334 h 7769334"/>
              <a:gd name="connsiteX5" fmla="*/ 6123 w 8066806"/>
              <a:gd name="connsiteY5" fmla="*/ 3768834 h 7769334"/>
              <a:gd name="connsiteX0" fmla="*/ 6939 w 8067622"/>
              <a:gd name="connsiteY0" fmla="*/ 3768834 h 7769334"/>
              <a:gd name="connsiteX1" fmla="*/ 3339224 w 8067622"/>
              <a:gd name="connsiteY1" fmla="*/ 462926 h 7769334"/>
              <a:gd name="connsiteX2" fmla="*/ 6244541 w 8067622"/>
              <a:gd name="connsiteY2" fmla="*/ 454134 h 7769334"/>
              <a:gd name="connsiteX3" fmla="*/ 8007939 w 8067622"/>
              <a:gd name="connsiteY3" fmla="*/ 3768834 h 7769334"/>
              <a:gd name="connsiteX4" fmla="*/ 4007439 w 8067622"/>
              <a:gd name="connsiteY4" fmla="*/ 7769334 h 7769334"/>
              <a:gd name="connsiteX5" fmla="*/ 6939 w 8067622"/>
              <a:gd name="connsiteY5" fmla="*/ 3768834 h 7769334"/>
              <a:gd name="connsiteX0" fmla="*/ 6939 w 8010086"/>
              <a:gd name="connsiteY0" fmla="*/ 3768834 h 7984710"/>
              <a:gd name="connsiteX1" fmla="*/ 3339224 w 8010086"/>
              <a:gd name="connsiteY1" fmla="*/ 462926 h 7984710"/>
              <a:gd name="connsiteX2" fmla="*/ 6244541 w 8010086"/>
              <a:gd name="connsiteY2" fmla="*/ 454134 h 7984710"/>
              <a:gd name="connsiteX3" fmla="*/ 8007939 w 8010086"/>
              <a:gd name="connsiteY3" fmla="*/ 3768834 h 7984710"/>
              <a:gd name="connsiteX4" fmla="*/ 5892849 w 8010086"/>
              <a:gd name="connsiteY4" fmla="*/ 7057157 h 7984710"/>
              <a:gd name="connsiteX5" fmla="*/ 4007439 w 8010086"/>
              <a:gd name="connsiteY5" fmla="*/ 7769334 h 7984710"/>
              <a:gd name="connsiteX6" fmla="*/ 6939 w 8010086"/>
              <a:gd name="connsiteY6" fmla="*/ 3768834 h 7984710"/>
              <a:gd name="connsiteX0" fmla="*/ 6939 w 8010086"/>
              <a:gd name="connsiteY0" fmla="*/ 3768834 h 8061801"/>
              <a:gd name="connsiteX1" fmla="*/ 3339224 w 8010086"/>
              <a:gd name="connsiteY1" fmla="*/ 462926 h 8061801"/>
              <a:gd name="connsiteX2" fmla="*/ 6244541 w 8010086"/>
              <a:gd name="connsiteY2" fmla="*/ 454134 h 8061801"/>
              <a:gd name="connsiteX3" fmla="*/ 8007939 w 8010086"/>
              <a:gd name="connsiteY3" fmla="*/ 3768834 h 8061801"/>
              <a:gd name="connsiteX4" fmla="*/ 5892849 w 8010086"/>
              <a:gd name="connsiteY4" fmla="*/ 7312134 h 8061801"/>
              <a:gd name="connsiteX5" fmla="*/ 4007439 w 8010086"/>
              <a:gd name="connsiteY5" fmla="*/ 7769334 h 8061801"/>
              <a:gd name="connsiteX6" fmla="*/ 6939 w 8010086"/>
              <a:gd name="connsiteY6" fmla="*/ 3768834 h 8061801"/>
              <a:gd name="connsiteX0" fmla="*/ 6 w 8003153"/>
              <a:gd name="connsiteY0" fmla="*/ 3768834 h 7779879"/>
              <a:gd name="connsiteX1" fmla="*/ 3332291 w 8003153"/>
              <a:gd name="connsiteY1" fmla="*/ 462926 h 7779879"/>
              <a:gd name="connsiteX2" fmla="*/ 6237608 w 8003153"/>
              <a:gd name="connsiteY2" fmla="*/ 454134 h 7779879"/>
              <a:gd name="connsiteX3" fmla="*/ 8001006 w 8003153"/>
              <a:gd name="connsiteY3" fmla="*/ 3768834 h 7779879"/>
              <a:gd name="connsiteX4" fmla="*/ 5885916 w 8003153"/>
              <a:gd name="connsiteY4" fmla="*/ 7312134 h 7779879"/>
              <a:gd name="connsiteX5" fmla="*/ 3349875 w 8003153"/>
              <a:gd name="connsiteY5" fmla="*/ 7303342 h 7779879"/>
              <a:gd name="connsiteX6" fmla="*/ 6 w 8003153"/>
              <a:gd name="connsiteY6" fmla="*/ 3768834 h 7779879"/>
              <a:gd name="connsiteX0" fmla="*/ 3 w 8003150"/>
              <a:gd name="connsiteY0" fmla="*/ 3768834 h 7775751"/>
              <a:gd name="connsiteX1" fmla="*/ 3332288 w 8003150"/>
              <a:gd name="connsiteY1" fmla="*/ 462926 h 7775751"/>
              <a:gd name="connsiteX2" fmla="*/ 6237605 w 8003150"/>
              <a:gd name="connsiteY2" fmla="*/ 454134 h 7775751"/>
              <a:gd name="connsiteX3" fmla="*/ 8001003 w 8003150"/>
              <a:gd name="connsiteY3" fmla="*/ 3768834 h 7775751"/>
              <a:gd name="connsiteX4" fmla="*/ 5885913 w 8003150"/>
              <a:gd name="connsiteY4" fmla="*/ 7312134 h 7775751"/>
              <a:gd name="connsiteX5" fmla="*/ 3314702 w 8003150"/>
              <a:gd name="connsiteY5" fmla="*/ 7294550 h 7775751"/>
              <a:gd name="connsiteX6" fmla="*/ 3 w 8003150"/>
              <a:gd name="connsiteY6" fmla="*/ 3768834 h 77757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35777 h 7832403"/>
              <a:gd name="connsiteX1" fmla="*/ 664079 w 5334941"/>
              <a:gd name="connsiteY1" fmla="*/ 304153 h 7832403"/>
              <a:gd name="connsiteX2" fmla="*/ 3569396 w 5334941"/>
              <a:gd name="connsiteY2" fmla="*/ 295361 h 7832403"/>
              <a:gd name="connsiteX3" fmla="*/ 5332794 w 5334941"/>
              <a:gd name="connsiteY3" fmla="*/ 3610061 h 7832403"/>
              <a:gd name="connsiteX4" fmla="*/ 3217704 w 5334941"/>
              <a:gd name="connsiteY4" fmla="*/ 7153361 h 7832403"/>
              <a:gd name="connsiteX5" fmla="*/ 646493 w 5334941"/>
              <a:gd name="connsiteY5" fmla="*/ 7135777 h 7832403"/>
              <a:gd name="connsiteX0" fmla="*/ 182720 w 4871168"/>
              <a:gd name="connsiteY0" fmla="*/ 7135777 h 7832403"/>
              <a:gd name="connsiteX1" fmla="*/ 200306 w 4871168"/>
              <a:gd name="connsiteY1" fmla="*/ 304153 h 7832403"/>
              <a:gd name="connsiteX2" fmla="*/ 3105623 w 4871168"/>
              <a:gd name="connsiteY2" fmla="*/ 295361 h 7832403"/>
              <a:gd name="connsiteX3" fmla="*/ 4869021 w 4871168"/>
              <a:gd name="connsiteY3" fmla="*/ 3610061 h 7832403"/>
              <a:gd name="connsiteX4" fmla="*/ 2753931 w 4871168"/>
              <a:gd name="connsiteY4" fmla="*/ 7153361 h 7832403"/>
              <a:gd name="connsiteX5" fmla="*/ 182720 w 4871168"/>
              <a:gd name="connsiteY5" fmla="*/ 7135777 h 7832403"/>
              <a:gd name="connsiteX0" fmla="*/ 182720 w 4871168"/>
              <a:gd name="connsiteY0" fmla="*/ 7124471 h 7821097"/>
              <a:gd name="connsiteX1" fmla="*/ 200306 w 4871168"/>
              <a:gd name="connsiteY1" fmla="*/ 292847 h 7821097"/>
              <a:gd name="connsiteX2" fmla="*/ 3105623 w 4871168"/>
              <a:gd name="connsiteY2" fmla="*/ 284055 h 7821097"/>
              <a:gd name="connsiteX3" fmla="*/ 4869021 w 4871168"/>
              <a:gd name="connsiteY3" fmla="*/ 3598755 h 7821097"/>
              <a:gd name="connsiteX4" fmla="*/ 2753931 w 4871168"/>
              <a:gd name="connsiteY4" fmla="*/ 7142055 h 7821097"/>
              <a:gd name="connsiteX5" fmla="*/ 182720 w 4871168"/>
              <a:gd name="connsiteY5" fmla="*/ 7124471 h 7821097"/>
              <a:gd name="connsiteX0" fmla="*/ 182720 w 4871168"/>
              <a:gd name="connsiteY0" fmla="*/ 7133321 h 7829947"/>
              <a:gd name="connsiteX1" fmla="*/ 200306 w 4871168"/>
              <a:gd name="connsiteY1" fmla="*/ 301697 h 7829947"/>
              <a:gd name="connsiteX2" fmla="*/ 3105623 w 4871168"/>
              <a:gd name="connsiteY2" fmla="*/ 292905 h 7829947"/>
              <a:gd name="connsiteX3" fmla="*/ 4869021 w 4871168"/>
              <a:gd name="connsiteY3" fmla="*/ 3607605 h 7829947"/>
              <a:gd name="connsiteX4" fmla="*/ 2753931 w 4871168"/>
              <a:gd name="connsiteY4" fmla="*/ 7150905 h 7829947"/>
              <a:gd name="connsiteX5" fmla="*/ 182720 w 4871168"/>
              <a:gd name="connsiteY5" fmla="*/ 7133321 h 7829947"/>
              <a:gd name="connsiteX0" fmla="*/ 186720 w 4875168"/>
              <a:gd name="connsiteY0" fmla="*/ 7137599 h 7835370"/>
              <a:gd name="connsiteX1" fmla="*/ 191837 w 4875168"/>
              <a:gd name="connsiteY1" fmla="*/ 289350 h 7835370"/>
              <a:gd name="connsiteX2" fmla="*/ 3109623 w 4875168"/>
              <a:gd name="connsiteY2" fmla="*/ 297183 h 7835370"/>
              <a:gd name="connsiteX3" fmla="*/ 4873021 w 4875168"/>
              <a:gd name="connsiteY3" fmla="*/ 3611883 h 7835370"/>
              <a:gd name="connsiteX4" fmla="*/ 2757931 w 4875168"/>
              <a:gd name="connsiteY4" fmla="*/ 7155183 h 7835370"/>
              <a:gd name="connsiteX5" fmla="*/ 186720 w 4875168"/>
              <a:gd name="connsiteY5" fmla="*/ 7137599 h 7835370"/>
              <a:gd name="connsiteX0" fmla="*/ 171307 w 4859755"/>
              <a:gd name="connsiteY0" fmla="*/ 7112714 h 7803338"/>
              <a:gd name="connsiteX1" fmla="*/ 226300 w 4859755"/>
              <a:gd name="connsiteY1" fmla="*/ 368374 h 7803338"/>
              <a:gd name="connsiteX2" fmla="*/ 3094210 w 4859755"/>
              <a:gd name="connsiteY2" fmla="*/ 272298 h 7803338"/>
              <a:gd name="connsiteX3" fmla="*/ 4857608 w 4859755"/>
              <a:gd name="connsiteY3" fmla="*/ 3586998 h 7803338"/>
              <a:gd name="connsiteX4" fmla="*/ 2742518 w 4859755"/>
              <a:gd name="connsiteY4" fmla="*/ 7130298 h 7803338"/>
              <a:gd name="connsiteX5" fmla="*/ 171307 w 4859755"/>
              <a:gd name="connsiteY5" fmla="*/ 7112714 h 7803338"/>
              <a:gd name="connsiteX0" fmla="*/ 184041 w 4872489"/>
              <a:gd name="connsiteY0" fmla="*/ 7134379 h 7831291"/>
              <a:gd name="connsiteX1" fmla="*/ 197470 w 4872489"/>
              <a:gd name="connsiteY1" fmla="*/ 298599 h 7831291"/>
              <a:gd name="connsiteX2" fmla="*/ 3106944 w 4872489"/>
              <a:gd name="connsiteY2" fmla="*/ 293963 h 7831291"/>
              <a:gd name="connsiteX3" fmla="*/ 4870342 w 4872489"/>
              <a:gd name="connsiteY3" fmla="*/ 3608663 h 7831291"/>
              <a:gd name="connsiteX4" fmla="*/ 2755252 w 4872489"/>
              <a:gd name="connsiteY4" fmla="*/ 7151963 h 7831291"/>
              <a:gd name="connsiteX5" fmla="*/ 184041 w 4872489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9716 w 4868927"/>
              <a:gd name="connsiteY0" fmla="*/ 7152851 h 7842196"/>
              <a:gd name="connsiteX1" fmla="*/ 193908 w 4868927"/>
              <a:gd name="connsiteY1" fmla="*/ 298599 h 7842196"/>
              <a:gd name="connsiteX2" fmla="*/ 3103382 w 4868927"/>
              <a:gd name="connsiteY2" fmla="*/ 293963 h 7842196"/>
              <a:gd name="connsiteX3" fmla="*/ 4866780 w 4868927"/>
              <a:gd name="connsiteY3" fmla="*/ 3608663 h 7842196"/>
              <a:gd name="connsiteX4" fmla="*/ 2751690 w 4868927"/>
              <a:gd name="connsiteY4" fmla="*/ 7151963 h 7842196"/>
              <a:gd name="connsiteX5" fmla="*/ 189716 w 4868927"/>
              <a:gd name="connsiteY5" fmla="*/ 7152851 h 7842196"/>
              <a:gd name="connsiteX0" fmla="*/ 2 w 4679213"/>
              <a:gd name="connsiteY0" fmla="*/ 7152851 h 7447842"/>
              <a:gd name="connsiteX1" fmla="*/ 4194 w 4679213"/>
              <a:gd name="connsiteY1" fmla="*/ 298599 h 7447842"/>
              <a:gd name="connsiteX2" fmla="*/ 2913668 w 4679213"/>
              <a:gd name="connsiteY2" fmla="*/ 293963 h 7447842"/>
              <a:gd name="connsiteX3" fmla="*/ 4677066 w 4679213"/>
              <a:gd name="connsiteY3" fmla="*/ 3608663 h 7447842"/>
              <a:gd name="connsiteX4" fmla="*/ 2561976 w 4679213"/>
              <a:gd name="connsiteY4" fmla="*/ 7151963 h 7447842"/>
              <a:gd name="connsiteX5" fmla="*/ 2 w 4679213"/>
              <a:gd name="connsiteY5" fmla="*/ 7152851 h 7447842"/>
              <a:gd name="connsiteX0" fmla="*/ 232986 w 4675130"/>
              <a:gd name="connsiteY0" fmla="*/ 7082039 h 7430577"/>
              <a:gd name="connsiteX1" fmla="*/ 111 w 4675130"/>
              <a:gd name="connsiteY1" fmla="*/ 298599 h 7430577"/>
              <a:gd name="connsiteX2" fmla="*/ 2909585 w 4675130"/>
              <a:gd name="connsiteY2" fmla="*/ 293963 h 7430577"/>
              <a:gd name="connsiteX3" fmla="*/ 4672983 w 4675130"/>
              <a:gd name="connsiteY3" fmla="*/ 3608663 h 7430577"/>
              <a:gd name="connsiteX4" fmla="*/ 2557893 w 4675130"/>
              <a:gd name="connsiteY4" fmla="*/ 7151963 h 7430577"/>
              <a:gd name="connsiteX5" fmla="*/ 232986 w 4675130"/>
              <a:gd name="connsiteY5" fmla="*/ 7082039 h 7430577"/>
              <a:gd name="connsiteX0" fmla="*/ 1481 w 4677613"/>
              <a:gd name="connsiteY0" fmla="*/ 7149773 h 7447048"/>
              <a:gd name="connsiteX1" fmla="*/ 2594 w 4677613"/>
              <a:gd name="connsiteY1" fmla="*/ 298599 h 7447048"/>
              <a:gd name="connsiteX2" fmla="*/ 2912068 w 4677613"/>
              <a:gd name="connsiteY2" fmla="*/ 293963 h 7447048"/>
              <a:gd name="connsiteX3" fmla="*/ 4675466 w 4677613"/>
              <a:gd name="connsiteY3" fmla="*/ 3608663 h 7447048"/>
              <a:gd name="connsiteX4" fmla="*/ 2560376 w 4677613"/>
              <a:gd name="connsiteY4" fmla="*/ 7151963 h 7447048"/>
              <a:gd name="connsiteX5" fmla="*/ 1481 w 4677613"/>
              <a:gd name="connsiteY5" fmla="*/ 7149773 h 7447048"/>
              <a:gd name="connsiteX0" fmla="*/ 165734 w 4841866"/>
              <a:gd name="connsiteY0" fmla="*/ 7139154 h 7826771"/>
              <a:gd name="connsiteX1" fmla="*/ 246896 w 4841866"/>
              <a:gd name="connsiteY1" fmla="*/ 331083 h 7826771"/>
              <a:gd name="connsiteX2" fmla="*/ 3076321 w 4841866"/>
              <a:gd name="connsiteY2" fmla="*/ 283344 h 7826771"/>
              <a:gd name="connsiteX3" fmla="*/ 4839719 w 4841866"/>
              <a:gd name="connsiteY3" fmla="*/ 3598044 h 7826771"/>
              <a:gd name="connsiteX4" fmla="*/ 2724629 w 4841866"/>
              <a:gd name="connsiteY4" fmla="*/ 7141344 h 7826771"/>
              <a:gd name="connsiteX5" fmla="*/ 165734 w 4841866"/>
              <a:gd name="connsiteY5" fmla="*/ 7139154 h 7826771"/>
              <a:gd name="connsiteX0" fmla="*/ 192597 w 4868729"/>
              <a:gd name="connsiteY0" fmla="*/ 7111990 h 7790893"/>
              <a:gd name="connsiteX1" fmla="*/ 187553 w 4868729"/>
              <a:gd name="connsiteY1" fmla="*/ 430149 h 7790893"/>
              <a:gd name="connsiteX2" fmla="*/ 3103184 w 4868729"/>
              <a:gd name="connsiteY2" fmla="*/ 256180 h 7790893"/>
              <a:gd name="connsiteX3" fmla="*/ 4866582 w 4868729"/>
              <a:gd name="connsiteY3" fmla="*/ 3570880 h 7790893"/>
              <a:gd name="connsiteX4" fmla="*/ 2751492 w 4868729"/>
              <a:gd name="connsiteY4" fmla="*/ 7114180 h 7790893"/>
              <a:gd name="connsiteX5" fmla="*/ 192597 w 4868729"/>
              <a:gd name="connsiteY5" fmla="*/ 7111990 h 7790893"/>
              <a:gd name="connsiteX0" fmla="*/ 135176 w 4811308"/>
              <a:gd name="connsiteY0" fmla="*/ 7105556 h 7782125"/>
              <a:gd name="connsiteX1" fmla="*/ 336411 w 4811308"/>
              <a:gd name="connsiteY1" fmla="*/ 457582 h 7782125"/>
              <a:gd name="connsiteX2" fmla="*/ 3045763 w 4811308"/>
              <a:gd name="connsiteY2" fmla="*/ 249746 h 7782125"/>
              <a:gd name="connsiteX3" fmla="*/ 4809161 w 4811308"/>
              <a:gd name="connsiteY3" fmla="*/ 3564446 h 7782125"/>
              <a:gd name="connsiteX4" fmla="*/ 2694071 w 4811308"/>
              <a:gd name="connsiteY4" fmla="*/ 7107746 h 7782125"/>
              <a:gd name="connsiteX5" fmla="*/ 135176 w 4811308"/>
              <a:gd name="connsiteY5" fmla="*/ 7105556 h 7782125"/>
              <a:gd name="connsiteX0" fmla="*/ 157213 w 4833345"/>
              <a:gd name="connsiteY0" fmla="*/ 7115639 h 7795816"/>
              <a:gd name="connsiteX1" fmla="*/ 269163 w 4833345"/>
              <a:gd name="connsiteY1" fmla="*/ 415325 h 7795816"/>
              <a:gd name="connsiteX2" fmla="*/ 3067800 w 4833345"/>
              <a:gd name="connsiteY2" fmla="*/ 259829 h 7795816"/>
              <a:gd name="connsiteX3" fmla="*/ 4831198 w 4833345"/>
              <a:gd name="connsiteY3" fmla="*/ 3574529 h 7795816"/>
              <a:gd name="connsiteX4" fmla="*/ 2716108 w 4833345"/>
              <a:gd name="connsiteY4" fmla="*/ 7117829 h 7795816"/>
              <a:gd name="connsiteX5" fmla="*/ 157213 w 4833345"/>
              <a:gd name="connsiteY5" fmla="*/ 7115639 h 7795816"/>
              <a:gd name="connsiteX0" fmla="*/ 156353 w 4832485"/>
              <a:gd name="connsiteY0" fmla="*/ 7115639 h 7795816"/>
              <a:gd name="connsiteX1" fmla="*/ 268303 w 4832485"/>
              <a:gd name="connsiteY1" fmla="*/ 415325 h 7795816"/>
              <a:gd name="connsiteX2" fmla="*/ 3066940 w 4832485"/>
              <a:gd name="connsiteY2" fmla="*/ 259829 h 7795816"/>
              <a:gd name="connsiteX3" fmla="*/ 4830338 w 4832485"/>
              <a:gd name="connsiteY3" fmla="*/ 3574529 h 7795816"/>
              <a:gd name="connsiteX4" fmla="*/ 2715248 w 4832485"/>
              <a:gd name="connsiteY4" fmla="*/ 7117829 h 7795816"/>
              <a:gd name="connsiteX5" fmla="*/ 156353 w 4832485"/>
              <a:gd name="connsiteY5" fmla="*/ 7115639 h 7795816"/>
              <a:gd name="connsiteX0" fmla="*/ 162218 w 4838350"/>
              <a:gd name="connsiteY0" fmla="*/ 7153758 h 7845421"/>
              <a:gd name="connsiteX1" fmla="*/ 252617 w 4838350"/>
              <a:gd name="connsiteY1" fmla="*/ 287189 h 7845421"/>
              <a:gd name="connsiteX2" fmla="*/ 3072805 w 4838350"/>
              <a:gd name="connsiteY2" fmla="*/ 297948 h 7845421"/>
              <a:gd name="connsiteX3" fmla="*/ 4836203 w 4838350"/>
              <a:gd name="connsiteY3" fmla="*/ 3612648 h 7845421"/>
              <a:gd name="connsiteX4" fmla="*/ 2721113 w 4838350"/>
              <a:gd name="connsiteY4" fmla="*/ 7155948 h 7845421"/>
              <a:gd name="connsiteX5" fmla="*/ 162218 w 4838350"/>
              <a:gd name="connsiteY5" fmla="*/ 7153758 h 7845421"/>
              <a:gd name="connsiteX0" fmla="*/ 162218 w 4838350"/>
              <a:gd name="connsiteY0" fmla="*/ 7127231 h 7811232"/>
              <a:gd name="connsiteX1" fmla="*/ 252617 w 4838350"/>
              <a:gd name="connsiteY1" fmla="*/ 371498 h 7811232"/>
              <a:gd name="connsiteX2" fmla="*/ 3072805 w 4838350"/>
              <a:gd name="connsiteY2" fmla="*/ 271421 h 7811232"/>
              <a:gd name="connsiteX3" fmla="*/ 4836203 w 4838350"/>
              <a:gd name="connsiteY3" fmla="*/ 3586121 h 7811232"/>
              <a:gd name="connsiteX4" fmla="*/ 2721113 w 4838350"/>
              <a:gd name="connsiteY4" fmla="*/ 7129421 h 7811232"/>
              <a:gd name="connsiteX5" fmla="*/ 162218 w 4838350"/>
              <a:gd name="connsiteY5" fmla="*/ 7127231 h 7811232"/>
              <a:gd name="connsiteX0" fmla="*/ 169100 w 4845232"/>
              <a:gd name="connsiteY0" fmla="*/ 7127237 h 7811238"/>
              <a:gd name="connsiteX1" fmla="*/ 259499 w 4845232"/>
              <a:gd name="connsiteY1" fmla="*/ 371504 h 7811238"/>
              <a:gd name="connsiteX2" fmla="*/ 3079687 w 4845232"/>
              <a:gd name="connsiteY2" fmla="*/ 271427 h 7811238"/>
              <a:gd name="connsiteX3" fmla="*/ 4843085 w 4845232"/>
              <a:gd name="connsiteY3" fmla="*/ 3586127 h 7811238"/>
              <a:gd name="connsiteX4" fmla="*/ 2727995 w 4845232"/>
              <a:gd name="connsiteY4" fmla="*/ 7129427 h 7811238"/>
              <a:gd name="connsiteX5" fmla="*/ 169100 w 4845232"/>
              <a:gd name="connsiteY5" fmla="*/ 7127237 h 7811238"/>
              <a:gd name="connsiteX0" fmla="*/ 219843 w 4895975"/>
              <a:gd name="connsiteY0" fmla="*/ 7118137 h 7799163"/>
              <a:gd name="connsiteX1" fmla="*/ 162460 w 4895975"/>
              <a:gd name="connsiteY1" fmla="*/ 405507 h 7799163"/>
              <a:gd name="connsiteX2" fmla="*/ 3130430 w 4895975"/>
              <a:gd name="connsiteY2" fmla="*/ 262327 h 7799163"/>
              <a:gd name="connsiteX3" fmla="*/ 4893828 w 4895975"/>
              <a:gd name="connsiteY3" fmla="*/ 3577027 h 7799163"/>
              <a:gd name="connsiteX4" fmla="*/ 2778738 w 4895975"/>
              <a:gd name="connsiteY4" fmla="*/ 7120327 h 7799163"/>
              <a:gd name="connsiteX5" fmla="*/ 219843 w 4895975"/>
              <a:gd name="connsiteY5" fmla="*/ 7118137 h 7799163"/>
              <a:gd name="connsiteX0" fmla="*/ 202277 w 4878409"/>
              <a:gd name="connsiteY0" fmla="*/ 7113808 h 7793348"/>
              <a:gd name="connsiteX1" fmla="*/ 191076 w 4878409"/>
              <a:gd name="connsiteY1" fmla="*/ 422730 h 7793348"/>
              <a:gd name="connsiteX2" fmla="*/ 3112864 w 4878409"/>
              <a:gd name="connsiteY2" fmla="*/ 257998 h 7793348"/>
              <a:gd name="connsiteX3" fmla="*/ 4876262 w 4878409"/>
              <a:gd name="connsiteY3" fmla="*/ 3572698 h 7793348"/>
              <a:gd name="connsiteX4" fmla="*/ 2761172 w 4878409"/>
              <a:gd name="connsiteY4" fmla="*/ 7115998 h 7793348"/>
              <a:gd name="connsiteX5" fmla="*/ 202277 w 4878409"/>
              <a:gd name="connsiteY5" fmla="*/ 7113808 h 7793348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85583 w 4761715"/>
              <a:gd name="connsiteY0" fmla="*/ 7107672 h 7785019"/>
              <a:gd name="connsiteX1" fmla="*/ 82333 w 4761715"/>
              <a:gd name="connsiteY1" fmla="*/ 448399 h 7785019"/>
              <a:gd name="connsiteX2" fmla="*/ 2996170 w 4761715"/>
              <a:gd name="connsiteY2" fmla="*/ 251862 h 7785019"/>
              <a:gd name="connsiteX3" fmla="*/ 4759568 w 4761715"/>
              <a:gd name="connsiteY3" fmla="*/ 3566562 h 7785019"/>
              <a:gd name="connsiteX4" fmla="*/ 2644478 w 4761715"/>
              <a:gd name="connsiteY4" fmla="*/ 7109862 h 7785019"/>
              <a:gd name="connsiteX5" fmla="*/ 85583 w 4761715"/>
              <a:gd name="connsiteY5" fmla="*/ 7107672 h 7785019"/>
              <a:gd name="connsiteX0" fmla="*/ 85583 w 4761715"/>
              <a:gd name="connsiteY0" fmla="*/ 7074631 h 7751978"/>
              <a:gd name="connsiteX1" fmla="*/ 82333 w 4761715"/>
              <a:gd name="connsiteY1" fmla="*/ 415358 h 7751978"/>
              <a:gd name="connsiteX2" fmla="*/ 2996170 w 4761715"/>
              <a:gd name="connsiteY2" fmla="*/ 218821 h 7751978"/>
              <a:gd name="connsiteX3" fmla="*/ 4759568 w 4761715"/>
              <a:gd name="connsiteY3" fmla="*/ 3533521 h 7751978"/>
              <a:gd name="connsiteX4" fmla="*/ 2644478 w 4761715"/>
              <a:gd name="connsiteY4" fmla="*/ 7076821 h 7751978"/>
              <a:gd name="connsiteX5" fmla="*/ 85583 w 4761715"/>
              <a:gd name="connsiteY5" fmla="*/ 7074631 h 7751978"/>
              <a:gd name="connsiteX0" fmla="*/ 157610 w 4833742"/>
              <a:gd name="connsiteY0" fmla="*/ 7074631 h 7751978"/>
              <a:gd name="connsiteX1" fmla="*/ 154360 w 4833742"/>
              <a:gd name="connsiteY1" fmla="*/ 415358 h 7751978"/>
              <a:gd name="connsiteX2" fmla="*/ 3068197 w 4833742"/>
              <a:gd name="connsiteY2" fmla="*/ 218821 h 7751978"/>
              <a:gd name="connsiteX3" fmla="*/ 4831595 w 4833742"/>
              <a:gd name="connsiteY3" fmla="*/ 3533521 h 7751978"/>
              <a:gd name="connsiteX4" fmla="*/ 2716505 w 4833742"/>
              <a:gd name="connsiteY4" fmla="*/ 7076821 h 7751978"/>
              <a:gd name="connsiteX5" fmla="*/ 157610 w 4833742"/>
              <a:gd name="connsiteY5" fmla="*/ 7074631 h 7751978"/>
              <a:gd name="connsiteX0" fmla="*/ 345911 w 5022043"/>
              <a:gd name="connsiteY0" fmla="*/ 7098958 h 7776305"/>
              <a:gd name="connsiteX1" fmla="*/ 342661 w 5022043"/>
              <a:gd name="connsiteY1" fmla="*/ 439685 h 7776305"/>
              <a:gd name="connsiteX2" fmla="*/ 3256498 w 5022043"/>
              <a:gd name="connsiteY2" fmla="*/ 243148 h 7776305"/>
              <a:gd name="connsiteX3" fmla="*/ 5019896 w 5022043"/>
              <a:gd name="connsiteY3" fmla="*/ 3557848 h 7776305"/>
              <a:gd name="connsiteX4" fmla="*/ 2904806 w 5022043"/>
              <a:gd name="connsiteY4" fmla="*/ 7101148 h 7776305"/>
              <a:gd name="connsiteX5" fmla="*/ 345911 w 5022043"/>
              <a:gd name="connsiteY5" fmla="*/ 7098958 h 7776305"/>
              <a:gd name="connsiteX0" fmla="*/ 190117 w 4866249"/>
              <a:gd name="connsiteY0" fmla="*/ 7193225 h 7870572"/>
              <a:gd name="connsiteX1" fmla="*/ 186867 w 4866249"/>
              <a:gd name="connsiteY1" fmla="*/ 533952 h 7870572"/>
              <a:gd name="connsiteX2" fmla="*/ 3100704 w 4866249"/>
              <a:gd name="connsiteY2" fmla="*/ 337415 h 7870572"/>
              <a:gd name="connsiteX3" fmla="*/ 4864102 w 4866249"/>
              <a:gd name="connsiteY3" fmla="*/ 3652115 h 7870572"/>
              <a:gd name="connsiteX4" fmla="*/ 2749012 w 4866249"/>
              <a:gd name="connsiteY4" fmla="*/ 7195415 h 7870572"/>
              <a:gd name="connsiteX5" fmla="*/ 190117 w 4866249"/>
              <a:gd name="connsiteY5" fmla="*/ 7193225 h 7870572"/>
              <a:gd name="connsiteX0" fmla="*/ 188894 w 4865026"/>
              <a:gd name="connsiteY0" fmla="*/ 7274677 h 7967496"/>
              <a:gd name="connsiteX1" fmla="*/ 189317 w 4865026"/>
              <a:gd name="connsiteY1" fmla="*/ 391394 h 7967496"/>
              <a:gd name="connsiteX2" fmla="*/ 3099481 w 4865026"/>
              <a:gd name="connsiteY2" fmla="*/ 418867 h 7967496"/>
              <a:gd name="connsiteX3" fmla="*/ 4862879 w 4865026"/>
              <a:gd name="connsiteY3" fmla="*/ 3733567 h 7967496"/>
              <a:gd name="connsiteX4" fmla="*/ 2747789 w 4865026"/>
              <a:gd name="connsiteY4" fmla="*/ 7276867 h 7967496"/>
              <a:gd name="connsiteX5" fmla="*/ 188894 w 4865026"/>
              <a:gd name="connsiteY5" fmla="*/ 7274677 h 7967496"/>
              <a:gd name="connsiteX0" fmla="*/ 192591 w 4868723"/>
              <a:gd name="connsiteY0" fmla="*/ 7277850 h 7971178"/>
              <a:gd name="connsiteX1" fmla="*/ 181997 w 4868723"/>
              <a:gd name="connsiteY1" fmla="*/ 387222 h 7971178"/>
              <a:gd name="connsiteX2" fmla="*/ 3103178 w 4868723"/>
              <a:gd name="connsiteY2" fmla="*/ 422040 h 7971178"/>
              <a:gd name="connsiteX3" fmla="*/ 4866576 w 4868723"/>
              <a:gd name="connsiteY3" fmla="*/ 3736740 h 7971178"/>
              <a:gd name="connsiteX4" fmla="*/ 2751486 w 4868723"/>
              <a:gd name="connsiteY4" fmla="*/ 7280040 h 7971178"/>
              <a:gd name="connsiteX5" fmla="*/ 192591 w 4868723"/>
              <a:gd name="connsiteY5" fmla="*/ 7277850 h 7971178"/>
              <a:gd name="connsiteX0" fmla="*/ 193427 w 4869559"/>
              <a:gd name="connsiteY0" fmla="*/ 7163116 h 7856444"/>
              <a:gd name="connsiteX1" fmla="*/ 182833 w 4869559"/>
              <a:gd name="connsiteY1" fmla="*/ 272488 h 7856444"/>
              <a:gd name="connsiteX2" fmla="*/ 3104014 w 4869559"/>
              <a:gd name="connsiteY2" fmla="*/ 307306 h 7856444"/>
              <a:gd name="connsiteX3" fmla="*/ 4867412 w 4869559"/>
              <a:gd name="connsiteY3" fmla="*/ 3622006 h 7856444"/>
              <a:gd name="connsiteX4" fmla="*/ 2752322 w 4869559"/>
              <a:gd name="connsiteY4" fmla="*/ 7165306 h 7856444"/>
              <a:gd name="connsiteX5" fmla="*/ 193427 w 4869559"/>
              <a:gd name="connsiteY5" fmla="*/ 7163116 h 7856444"/>
              <a:gd name="connsiteX0" fmla="*/ 170155 w 4846287"/>
              <a:gd name="connsiteY0" fmla="*/ 7143047 h 7831040"/>
              <a:gd name="connsiteX1" fmla="*/ 233007 w 4846287"/>
              <a:gd name="connsiteY1" fmla="*/ 329537 h 7831040"/>
              <a:gd name="connsiteX2" fmla="*/ 3080742 w 4846287"/>
              <a:gd name="connsiteY2" fmla="*/ 287237 h 7831040"/>
              <a:gd name="connsiteX3" fmla="*/ 4844140 w 4846287"/>
              <a:gd name="connsiteY3" fmla="*/ 3601937 h 7831040"/>
              <a:gd name="connsiteX4" fmla="*/ 2729050 w 4846287"/>
              <a:gd name="connsiteY4" fmla="*/ 7145237 h 7831040"/>
              <a:gd name="connsiteX5" fmla="*/ 170155 w 4846287"/>
              <a:gd name="connsiteY5" fmla="*/ 7143047 h 7831040"/>
              <a:gd name="connsiteX0" fmla="*/ 188486 w 4864618"/>
              <a:gd name="connsiteY0" fmla="*/ 7162098 h 7855172"/>
              <a:gd name="connsiteX1" fmla="*/ 192581 w 4864618"/>
              <a:gd name="connsiteY1" fmla="*/ 275143 h 7855172"/>
              <a:gd name="connsiteX2" fmla="*/ 3099073 w 4864618"/>
              <a:gd name="connsiteY2" fmla="*/ 306288 h 7855172"/>
              <a:gd name="connsiteX3" fmla="*/ 4862471 w 4864618"/>
              <a:gd name="connsiteY3" fmla="*/ 3620988 h 7855172"/>
              <a:gd name="connsiteX4" fmla="*/ 2747381 w 4864618"/>
              <a:gd name="connsiteY4" fmla="*/ 7164288 h 7855172"/>
              <a:gd name="connsiteX5" fmla="*/ 188486 w 4864618"/>
              <a:gd name="connsiteY5" fmla="*/ 7162098 h 785517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181559 h 7874633"/>
              <a:gd name="connsiteX1" fmla="*/ 344138 w 5016181"/>
              <a:gd name="connsiteY1" fmla="*/ 294604 h 7874633"/>
              <a:gd name="connsiteX2" fmla="*/ 3254303 w 5016181"/>
              <a:gd name="connsiteY2" fmla="*/ 296371 h 7874633"/>
              <a:gd name="connsiteX3" fmla="*/ 5014028 w 5016181"/>
              <a:gd name="connsiteY3" fmla="*/ 3640449 h 7874633"/>
              <a:gd name="connsiteX4" fmla="*/ 2898938 w 5016181"/>
              <a:gd name="connsiteY4" fmla="*/ 7183749 h 7874633"/>
              <a:gd name="connsiteX5" fmla="*/ 340043 w 5016181"/>
              <a:gd name="connsiteY5" fmla="*/ 7181559 h 7874633"/>
              <a:gd name="connsiteX0" fmla="*/ 340043 w 5016181"/>
              <a:gd name="connsiteY0" fmla="*/ 7183197 h 7876271"/>
              <a:gd name="connsiteX1" fmla="*/ 344138 w 5016181"/>
              <a:gd name="connsiteY1" fmla="*/ 296242 h 7876271"/>
              <a:gd name="connsiteX2" fmla="*/ 3254303 w 5016181"/>
              <a:gd name="connsiteY2" fmla="*/ 298009 h 7876271"/>
              <a:gd name="connsiteX3" fmla="*/ 5014028 w 5016181"/>
              <a:gd name="connsiteY3" fmla="*/ 3642087 h 7876271"/>
              <a:gd name="connsiteX4" fmla="*/ 2898938 w 5016181"/>
              <a:gd name="connsiteY4" fmla="*/ 7185387 h 7876271"/>
              <a:gd name="connsiteX5" fmla="*/ 340043 w 5016181"/>
              <a:gd name="connsiteY5" fmla="*/ 7183197 h 7876271"/>
              <a:gd name="connsiteX0" fmla="*/ 340043 w 5016181"/>
              <a:gd name="connsiteY0" fmla="*/ 7184031 h 7877324"/>
              <a:gd name="connsiteX1" fmla="*/ 344138 w 5016181"/>
              <a:gd name="connsiteY1" fmla="*/ 293901 h 7877324"/>
              <a:gd name="connsiteX2" fmla="*/ 3254303 w 5016181"/>
              <a:gd name="connsiteY2" fmla="*/ 298843 h 7877324"/>
              <a:gd name="connsiteX3" fmla="*/ 5014028 w 5016181"/>
              <a:gd name="connsiteY3" fmla="*/ 3642921 h 7877324"/>
              <a:gd name="connsiteX4" fmla="*/ 2898938 w 5016181"/>
              <a:gd name="connsiteY4" fmla="*/ 7186221 h 7877324"/>
              <a:gd name="connsiteX5" fmla="*/ 340043 w 5016181"/>
              <a:gd name="connsiteY5" fmla="*/ 7184031 h 7877324"/>
              <a:gd name="connsiteX0" fmla="*/ 338200 w 5014338"/>
              <a:gd name="connsiteY0" fmla="*/ 7184031 h 7877324"/>
              <a:gd name="connsiteX1" fmla="*/ 345470 w 5014338"/>
              <a:gd name="connsiteY1" fmla="*/ 293901 h 7877324"/>
              <a:gd name="connsiteX2" fmla="*/ 3252460 w 5014338"/>
              <a:gd name="connsiteY2" fmla="*/ 298843 h 7877324"/>
              <a:gd name="connsiteX3" fmla="*/ 5012185 w 5014338"/>
              <a:gd name="connsiteY3" fmla="*/ 3642921 h 7877324"/>
              <a:gd name="connsiteX4" fmla="*/ 2897095 w 5014338"/>
              <a:gd name="connsiteY4" fmla="*/ 7186221 h 7877324"/>
              <a:gd name="connsiteX5" fmla="*/ 338200 w 5014338"/>
              <a:gd name="connsiteY5" fmla="*/ 7184031 h 7877324"/>
              <a:gd name="connsiteX0" fmla="*/ 338200 w 5014338"/>
              <a:gd name="connsiteY0" fmla="*/ 7183318 h 7876611"/>
              <a:gd name="connsiteX1" fmla="*/ 345470 w 5014338"/>
              <a:gd name="connsiteY1" fmla="*/ 293188 h 7876611"/>
              <a:gd name="connsiteX2" fmla="*/ 3252460 w 5014338"/>
              <a:gd name="connsiteY2" fmla="*/ 298130 h 7876611"/>
              <a:gd name="connsiteX3" fmla="*/ 5012185 w 5014338"/>
              <a:gd name="connsiteY3" fmla="*/ 3642208 h 7876611"/>
              <a:gd name="connsiteX4" fmla="*/ 2897095 w 5014338"/>
              <a:gd name="connsiteY4" fmla="*/ 7185508 h 7876611"/>
              <a:gd name="connsiteX5" fmla="*/ 338200 w 5014338"/>
              <a:gd name="connsiteY5" fmla="*/ 7183318 h 7876611"/>
              <a:gd name="connsiteX0" fmla="*/ 189227 w 4865365"/>
              <a:gd name="connsiteY0" fmla="*/ 7183318 h 7876611"/>
              <a:gd name="connsiteX1" fmla="*/ 196497 w 4865365"/>
              <a:gd name="connsiteY1" fmla="*/ 293188 h 7876611"/>
              <a:gd name="connsiteX2" fmla="*/ 3103487 w 4865365"/>
              <a:gd name="connsiteY2" fmla="*/ 298130 h 7876611"/>
              <a:gd name="connsiteX3" fmla="*/ 4863212 w 4865365"/>
              <a:gd name="connsiteY3" fmla="*/ 3642208 h 7876611"/>
              <a:gd name="connsiteX4" fmla="*/ 2748122 w 4865365"/>
              <a:gd name="connsiteY4" fmla="*/ 7185508 h 7876611"/>
              <a:gd name="connsiteX5" fmla="*/ 189227 w 4865365"/>
              <a:gd name="connsiteY5" fmla="*/ 7183318 h 7876611"/>
              <a:gd name="connsiteX0" fmla="*/ 192432 w 4868570"/>
              <a:gd name="connsiteY0" fmla="*/ 7183318 h 7876611"/>
              <a:gd name="connsiteX1" fmla="*/ 190177 w 4868570"/>
              <a:gd name="connsiteY1" fmla="*/ 293188 h 7876611"/>
              <a:gd name="connsiteX2" fmla="*/ 3106692 w 4868570"/>
              <a:gd name="connsiteY2" fmla="*/ 298130 h 7876611"/>
              <a:gd name="connsiteX3" fmla="*/ 4866417 w 4868570"/>
              <a:gd name="connsiteY3" fmla="*/ 3642208 h 7876611"/>
              <a:gd name="connsiteX4" fmla="*/ 2751327 w 4868570"/>
              <a:gd name="connsiteY4" fmla="*/ 7185508 h 7876611"/>
              <a:gd name="connsiteX5" fmla="*/ 192432 w 4868570"/>
              <a:gd name="connsiteY5" fmla="*/ 7183318 h 7876611"/>
              <a:gd name="connsiteX0" fmla="*/ 190287 w 4866425"/>
              <a:gd name="connsiteY0" fmla="*/ 7183318 h 7876611"/>
              <a:gd name="connsiteX1" fmla="*/ 188032 w 4866425"/>
              <a:gd name="connsiteY1" fmla="*/ 293188 h 7876611"/>
              <a:gd name="connsiteX2" fmla="*/ 3104547 w 4866425"/>
              <a:gd name="connsiteY2" fmla="*/ 298130 h 7876611"/>
              <a:gd name="connsiteX3" fmla="*/ 4864272 w 4866425"/>
              <a:gd name="connsiteY3" fmla="*/ 3642208 h 7876611"/>
              <a:gd name="connsiteX4" fmla="*/ 2749182 w 4866425"/>
              <a:gd name="connsiteY4" fmla="*/ 7185508 h 7876611"/>
              <a:gd name="connsiteX5" fmla="*/ 190287 w 4866425"/>
              <a:gd name="connsiteY5" fmla="*/ 7183318 h 7876611"/>
              <a:gd name="connsiteX0" fmla="*/ 190287 w 4866425"/>
              <a:gd name="connsiteY0" fmla="*/ 7154743 h 7859802"/>
              <a:gd name="connsiteX1" fmla="*/ 188032 w 4866425"/>
              <a:gd name="connsiteY1" fmla="*/ 293188 h 7859802"/>
              <a:gd name="connsiteX2" fmla="*/ 3104547 w 4866425"/>
              <a:gd name="connsiteY2" fmla="*/ 298130 h 7859802"/>
              <a:gd name="connsiteX3" fmla="*/ 4864272 w 4866425"/>
              <a:gd name="connsiteY3" fmla="*/ 3642208 h 7859802"/>
              <a:gd name="connsiteX4" fmla="*/ 2749182 w 4866425"/>
              <a:gd name="connsiteY4" fmla="*/ 7185508 h 7859802"/>
              <a:gd name="connsiteX5" fmla="*/ 190287 w 4866425"/>
              <a:gd name="connsiteY5" fmla="*/ 7154743 h 7859802"/>
              <a:gd name="connsiteX0" fmla="*/ 2255 w 4678393"/>
              <a:gd name="connsiteY0" fmla="*/ 7154743 h 7872894"/>
              <a:gd name="connsiteX1" fmla="*/ 0 w 4678393"/>
              <a:gd name="connsiteY1" fmla="*/ 293188 h 7872894"/>
              <a:gd name="connsiteX2" fmla="*/ 2916515 w 4678393"/>
              <a:gd name="connsiteY2" fmla="*/ 298130 h 7872894"/>
              <a:gd name="connsiteX3" fmla="*/ 4676240 w 4678393"/>
              <a:gd name="connsiteY3" fmla="*/ 3642208 h 7872894"/>
              <a:gd name="connsiteX4" fmla="*/ 2561150 w 4678393"/>
              <a:gd name="connsiteY4" fmla="*/ 7185508 h 7872894"/>
              <a:gd name="connsiteX5" fmla="*/ 2255 w 4678393"/>
              <a:gd name="connsiteY5" fmla="*/ 7154743 h 7872894"/>
              <a:gd name="connsiteX0" fmla="*/ 2822 w 4678960"/>
              <a:gd name="connsiteY0" fmla="*/ 7154743 h 7874206"/>
              <a:gd name="connsiteX1" fmla="*/ 567 w 4678960"/>
              <a:gd name="connsiteY1" fmla="*/ 293188 h 7874206"/>
              <a:gd name="connsiteX2" fmla="*/ 2917082 w 4678960"/>
              <a:gd name="connsiteY2" fmla="*/ 298130 h 7874206"/>
              <a:gd name="connsiteX3" fmla="*/ 4676807 w 4678960"/>
              <a:gd name="connsiteY3" fmla="*/ 3642208 h 7874206"/>
              <a:gd name="connsiteX4" fmla="*/ 2561717 w 4678960"/>
              <a:gd name="connsiteY4" fmla="*/ 7185508 h 7874206"/>
              <a:gd name="connsiteX5" fmla="*/ 2822 w 4678960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473936"/>
              <a:gd name="connsiteX1" fmla="*/ 0 w 4678393"/>
              <a:gd name="connsiteY1" fmla="*/ 293188 h 7473936"/>
              <a:gd name="connsiteX2" fmla="*/ 2916515 w 4678393"/>
              <a:gd name="connsiteY2" fmla="*/ 298130 h 7473936"/>
              <a:gd name="connsiteX3" fmla="*/ 4676240 w 4678393"/>
              <a:gd name="connsiteY3" fmla="*/ 3642208 h 7473936"/>
              <a:gd name="connsiteX4" fmla="*/ 2561150 w 4678393"/>
              <a:gd name="connsiteY4" fmla="*/ 7185508 h 7473936"/>
              <a:gd name="connsiteX5" fmla="*/ 2255 w 4678393"/>
              <a:gd name="connsiteY5" fmla="*/ 7154743 h 7473936"/>
              <a:gd name="connsiteX0" fmla="*/ 2255 w 4678393"/>
              <a:gd name="connsiteY0" fmla="*/ 7154743 h 7450206"/>
              <a:gd name="connsiteX1" fmla="*/ 0 w 4678393"/>
              <a:gd name="connsiteY1" fmla="*/ 293188 h 7450206"/>
              <a:gd name="connsiteX2" fmla="*/ 2916515 w 4678393"/>
              <a:gd name="connsiteY2" fmla="*/ 298130 h 7450206"/>
              <a:gd name="connsiteX3" fmla="*/ 4676240 w 4678393"/>
              <a:gd name="connsiteY3" fmla="*/ 3642208 h 7450206"/>
              <a:gd name="connsiteX4" fmla="*/ 2564325 w 4678393"/>
              <a:gd name="connsiteY4" fmla="*/ 7153758 h 7450206"/>
              <a:gd name="connsiteX5" fmla="*/ 2255 w 4678393"/>
              <a:gd name="connsiteY5" fmla="*/ 7154743 h 7450206"/>
              <a:gd name="connsiteX0" fmla="*/ 2255 w 4678393"/>
              <a:gd name="connsiteY0" fmla="*/ 7154743 h 7154743"/>
              <a:gd name="connsiteX1" fmla="*/ 0 w 4678393"/>
              <a:gd name="connsiteY1" fmla="*/ 293188 h 7154743"/>
              <a:gd name="connsiteX2" fmla="*/ 2916515 w 4678393"/>
              <a:gd name="connsiteY2" fmla="*/ 298130 h 7154743"/>
              <a:gd name="connsiteX3" fmla="*/ 4676240 w 4678393"/>
              <a:gd name="connsiteY3" fmla="*/ 3642208 h 7154743"/>
              <a:gd name="connsiteX4" fmla="*/ 2564325 w 4678393"/>
              <a:gd name="connsiteY4" fmla="*/ 7153758 h 7154743"/>
              <a:gd name="connsiteX5" fmla="*/ 2255 w 4678393"/>
              <a:gd name="connsiteY5" fmla="*/ 7154743 h 7154743"/>
              <a:gd name="connsiteX0" fmla="*/ 2255 w 4678393"/>
              <a:gd name="connsiteY0" fmla="*/ 6861555 h 6861555"/>
              <a:gd name="connsiteX1" fmla="*/ 0 w 4678393"/>
              <a:gd name="connsiteY1" fmla="*/ 0 h 6861555"/>
              <a:gd name="connsiteX2" fmla="*/ 2916515 w 4678393"/>
              <a:gd name="connsiteY2" fmla="*/ 4942 h 6861555"/>
              <a:gd name="connsiteX3" fmla="*/ 4676240 w 4678393"/>
              <a:gd name="connsiteY3" fmla="*/ 3349020 h 6861555"/>
              <a:gd name="connsiteX4" fmla="*/ 2564325 w 4678393"/>
              <a:gd name="connsiteY4" fmla="*/ 6860570 h 6861555"/>
              <a:gd name="connsiteX5" fmla="*/ 2255 w 4678393"/>
              <a:gd name="connsiteY5" fmla="*/ 6861555 h 6861555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9009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8377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3061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71578"/>
              <a:gd name="connsiteX1" fmla="*/ 0 w 4678399"/>
              <a:gd name="connsiteY1" fmla="*/ 1408 h 6871578"/>
              <a:gd name="connsiteX2" fmla="*/ 2919690 w 4678399"/>
              <a:gd name="connsiteY2" fmla="*/ 0 h 6871578"/>
              <a:gd name="connsiteX3" fmla="*/ 4676240 w 4678399"/>
              <a:gd name="connsiteY3" fmla="*/ 3350428 h 6871578"/>
              <a:gd name="connsiteX4" fmla="*/ 2521796 w 4678399"/>
              <a:gd name="connsiteY4" fmla="*/ 6871578 h 6871578"/>
              <a:gd name="connsiteX5" fmla="*/ 2255 w 4678399"/>
              <a:gd name="connsiteY5" fmla="*/ 6862963 h 6871578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6240" h="6862963">
                <a:moveTo>
                  <a:pt x="2255" y="6862963"/>
                </a:moveTo>
                <a:cubicBezTo>
                  <a:pt x="847" y="5679318"/>
                  <a:pt x="65" y="1117189"/>
                  <a:pt x="0" y="1408"/>
                </a:cubicBezTo>
                <a:lnTo>
                  <a:pt x="2919690" y="0"/>
                </a:lnTo>
                <a:cubicBezTo>
                  <a:pt x="3347209" y="321191"/>
                  <a:pt x="4644479" y="1245147"/>
                  <a:pt x="4676240" y="3350428"/>
                </a:cubicBezTo>
                <a:cubicBezTo>
                  <a:pt x="4625578" y="5097946"/>
                  <a:pt x="3667890" y="6255680"/>
                  <a:pt x="2516480" y="6860945"/>
                </a:cubicBezTo>
                <a:lnTo>
                  <a:pt x="2255" y="6862963"/>
                </a:lnTo>
                <a:close/>
              </a:path>
            </a:pathLst>
          </a:custGeom>
          <a:ln>
            <a:noFill/>
          </a:ln>
          <a:extLst>
            <a:ext uri="{91240B29-F687-4f45-9708-019B960494DF}"/>
          </a:extLst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8461" y="110949"/>
            <a:ext cx="6882540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28461" y="1533600"/>
            <a:ext cx="688254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928461" y="2174400"/>
            <a:ext cx="688254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3354226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2585" y="110949"/>
            <a:ext cx="7138416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72585" y="1533600"/>
            <a:ext cx="713841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72585" y="2174400"/>
            <a:ext cx="7138416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3CA72A1A-CDA5-9A46-A824-8BA40A7BC7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301067" cy="6858000"/>
          </a:xfr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18435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160442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091988" y="0"/>
            <a:ext cx="128587" cy="145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05518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110949"/>
            <a:ext cx="10972800" cy="1143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600" y="1602000"/>
            <a:ext cx="10972800" cy="452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366757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614252" y="1676400"/>
            <a:ext cx="5791200" cy="4343400"/>
          </a:xfrm>
          <a:prstGeom prst="ellipse">
            <a:avLst/>
          </a:prstGeom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365471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5994400" y="1676400"/>
            <a:ext cx="5791200" cy="4343400"/>
          </a:xfrm>
          <a:prstGeom prst="ellipse">
            <a:avLst/>
          </a:prstGeom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618298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 bwMode="ltGray">
          <a:xfrm>
            <a:off x="-17630" y="-9254"/>
            <a:ext cx="6234987" cy="6867254"/>
          </a:xfrm>
          <a:custGeom>
            <a:avLst/>
            <a:gdLst>
              <a:gd name="connsiteX0" fmla="*/ 0 w 8001000"/>
              <a:gd name="connsiteY0" fmla="*/ 4000500 h 8001000"/>
              <a:gd name="connsiteX1" fmla="*/ 4000500 w 8001000"/>
              <a:gd name="connsiteY1" fmla="*/ 0 h 8001000"/>
              <a:gd name="connsiteX2" fmla="*/ 8001000 w 8001000"/>
              <a:gd name="connsiteY2" fmla="*/ 4000500 h 8001000"/>
              <a:gd name="connsiteX3" fmla="*/ 4000500 w 8001000"/>
              <a:gd name="connsiteY3" fmla="*/ 8001000 h 8001000"/>
              <a:gd name="connsiteX4" fmla="*/ 0 w 8001000"/>
              <a:gd name="connsiteY4" fmla="*/ 4000500 h 8001000"/>
              <a:gd name="connsiteX0" fmla="*/ 0 w 8060683"/>
              <a:gd name="connsiteY0" fmla="*/ 4222799 h 8223299"/>
              <a:gd name="connsiteX1" fmla="*/ 4000500 w 8060683"/>
              <a:gd name="connsiteY1" fmla="*/ 222299 h 8223299"/>
              <a:gd name="connsiteX2" fmla="*/ 6237602 w 8060683"/>
              <a:gd name="connsiteY2" fmla="*/ 908099 h 8223299"/>
              <a:gd name="connsiteX3" fmla="*/ 8001000 w 8060683"/>
              <a:gd name="connsiteY3" fmla="*/ 4222799 h 8223299"/>
              <a:gd name="connsiteX4" fmla="*/ 4000500 w 8060683"/>
              <a:gd name="connsiteY4" fmla="*/ 8223299 h 8223299"/>
              <a:gd name="connsiteX5" fmla="*/ 0 w 8060683"/>
              <a:gd name="connsiteY5" fmla="*/ 4222799 h 8223299"/>
              <a:gd name="connsiteX0" fmla="*/ 8055 w 8068738"/>
              <a:gd name="connsiteY0" fmla="*/ 3760842 h 7761342"/>
              <a:gd name="connsiteX1" fmla="*/ 3296378 w 8068738"/>
              <a:gd name="connsiteY1" fmla="*/ 472519 h 7761342"/>
              <a:gd name="connsiteX2" fmla="*/ 6245657 w 8068738"/>
              <a:gd name="connsiteY2" fmla="*/ 446142 h 7761342"/>
              <a:gd name="connsiteX3" fmla="*/ 8009055 w 8068738"/>
              <a:gd name="connsiteY3" fmla="*/ 3760842 h 7761342"/>
              <a:gd name="connsiteX4" fmla="*/ 4008555 w 8068738"/>
              <a:gd name="connsiteY4" fmla="*/ 7761342 h 7761342"/>
              <a:gd name="connsiteX5" fmla="*/ 8055 w 8068738"/>
              <a:gd name="connsiteY5" fmla="*/ 3760842 h 7761342"/>
              <a:gd name="connsiteX0" fmla="*/ 6123 w 8066806"/>
              <a:gd name="connsiteY0" fmla="*/ 3768834 h 7769334"/>
              <a:gd name="connsiteX1" fmla="*/ 3373577 w 8066806"/>
              <a:gd name="connsiteY1" fmla="*/ 462926 h 7769334"/>
              <a:gd name="connsiteX2" fmla="*/ 6243725 w 8066806"/>
              <a:gd name="connsiteY2" fmla="*/ 454134 h 7769334"/>
              <a:gd name="connsiteX3" fmla="*/ 8007123 w 8066806"/>
              <a:gd name="connsiteY3" fmla="*/ 3768834 h 7769334"/>
              <a:gd name="connsiteX4" fmla="*/ 4006623 w 8066806"/>
              <a:gd name="connsiteY4" fmla="*/ 7769334 h 7769334"/>
              <a:gd name="connsiteX5" fmla="*/ 6123 w 8066806"/>
              <a:gd name="connsiteY5" fmla="*/ 3768834 h 7769334"/>
              <a:gd name="connsiteX0" fmla="*/ 6939 w 8067622"/>
              <a:gd name="connsiteY0" fmla="*/ 3768834 h 7769334"/>
              <a:gd name="connsiteX1" fmla="*/ 3339224 w 8067622"/>
              <a:gd name="connsiteY1" fmla="*/ 462926 h 7769334"/>
              <a:gd name="connsiteX2" fmla="*/ 6244541 w 8067622"/>
              <a:gd name="connsiteY2" fmla="*/ 454134 h 7769334"/>
              <a:gd name="connsiteX3" fmla="*/ 8007939 w 8067622"/>
              <a:gd name="connsiteY3" fmla="*/ 3768834 h 7769334"/>
              <a:gd name="connsiteX4" fmla="*/ 4007439 w 8067622"/>
              <a:gd name="connsiteY4" fmla="*/ 7769334 h 7769334"/>
              <a:gd name="connsiteX5" fmla="*/ 6939 w 8067622"/>
              <a:gd name="connsiteY5" fmla="*/ 3768834 h 7769334"/>
              <a:gd name="connsiteX0" fmla="*/ 6939 w 8010086"/>
              <a:gd name="connsiteY0" fmla="*/ 3768834 h 7984710"/>
              <a:gd name="connsiteX1" fmla="*/ 3339224 w 8010086"/>
              <a:gd name="connsiteY1" fmla="*/ 462926 h 7984710"/>
              <a:gd name="connsiteX2" fmla="*/ 6244541 w 8010086"/>
              <a:gd name="connsiteY2" fmla="*/ 454134 h 7984710"/>
              <a:gd name="connsiteX3" fmla="*/ 8007939 w 8010086"/>
              <a:gd name="connsiteY3" fmla="*/ 3768834 h 7984710"/>
              <a:gd name="connsiteX4" fmla="*/ 5892849 w 8010086"/>
              <a:gd name="connsiteY4" fmla="*/ 7057157 h 7984710"/>
              <a:gd name="connsiteX5" fmla="*/ 4007439 w 8010086"/>
              <a:gd name="connsiteY5" fmla="*/ 7769334 h 7984710"/>
              <a:gd name="connsiteX6" fmla="*/ 6939 w 8010086"/>
              <a:gd name="connsiteY6" fmla="*/ 3768834 h 7984710"/>
              <a:gd name="connsiteX0" fmla="*/ 6939 w 8010086"/>
              <a:gd name="connsiteY0" fmla="*/ 3768834 h 8061801"/>
              <a:gd name="connsiteX1" fmla="*/ 3339224 w 8010086"/>
              <a:gd name="connsiteY1" fmla="*/ 462926 h 8061801"/>
              <a:gd name="connsiteX2" fmla="*/ 6244541 w 8010086"/>
              <a:gd name="connsiteY2" fmla="*/ 454134 h 8061801"/>
              <a:gd name="connsiteX3" fmla="*/ 8007939 w 8010086"/>
              <a:gd name="connsiteY3" fmla="*/ 3768834 h 8061801"/>
              <a:gd name="connsiteX4" fmla="*/ 5892849 w 8010086"/>
              <a:gd name="connsiteY4" fmla="*/ 7312134 h 8061801"/>
              <a:gd name="connsiteX5" fmla="*/ 4007439 w 8010086"/>
              <a:gd name="connsiteY5" fmla="*/ 7769334 h 8061801"/>
              <a:gd name="connsiteX6" fmla="*/ 6939 w 8010086"/>
              <a:gd name="connsiteY6" fmla="*/ 3768834 h 8061801"/>
              <a:gd name="connsiteX0" fmla="*/ 6 w 8003153"/>
              <a:gd name="connsiteY0" fmla="*/ 3768834 h 7779879"/>
              <a:gd name="connsiteX1" fmla="*/ 3332291 w 8003153"/>
              <a:gd name="connsiteY1" fmla="*/ 462926 h 7779879"/>
              <a:gd name="connsiteX2" fmla="*/ 6237608 w 8003153"/>
              <a:gd name="connsiteY2" fmla="*/ 454134 h 7779879"/>
              <a:gd name="connsiteX3" fmla="*/ 8001006 w 8003153"/>
              <a:gd name="connsiteY3" fmla="*/ 3768834 h 7779879"/>
              <a:gd name="connsiteX4" fmla="*/ 5885916 w 8003153"/>
              <a:gd name="connsiteY4" fmla="*/ 7312134 h 7779879"/>
              <a:gd name="connsiteX5" fmla="*/ 3349875 w 8003153"/>
              <a:gd name="connsiteY5" fmla="*/ 7303342 h 7779879"/>
              <a:gd name="connsiteX6" fmla="*/ 6 w 8003153"/>
              <a:gd name="connsiteY6" fmla="*/ 3768834 h 7779879"/>
              <a:gd name="connsiteX0" fmla="*/ 3 w 8003150"/>
              <a:gd name="connsiteY0" fmla="*/ 3768834 h 7775751"/>
              <a:gd name="connsiteX1" fmla="*/ 3332288 w 8003150"/>
              <a:gd name="connsiteY1" fmla="*/ 462926 h 7775751"/>
              <a:gd name="connsiteX2" fmla="*/ 6237605 w 8003150"/>
              <a:gd name="connsiteY2" fmla="*/ 454134 h 7775751"/>
              <a:gd name="connsiteX3" fmla="*/ 8001003 w 8003150"/>
              <a:gd name="connsiteY3" fmla="*/ 3768834 h 7775751"/>
              <a:gd name="connsiteX4" fmla="*/ 5885913 w 8003150"/>
              <a:gd name="connsiteY4" fmla="*/ 7312134 h 7775751"/>
              <a:gd name="connsiteX5" fmla="*/ 3314702 w 8003150"/>
              <a:gd name="connsiteY5" fmla="*/ 7294550 h 7775751"/>
              <a:gd name="connsiteX6" fmla="*/ 3 w 8003150"/>
              <a:gd name="connsiteY6" fmla="*/ 3768834 h 77757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35777 h 7832403"/>
              <a:gd name="connsiteX1" fmla="*/ 664079 w 5334941"/>
              <a:gd name="connsiteY1" fmla="*/ 304153 h 7832403"/>
              <a:gd name="connsiteX2" fmla="*/ 3569396 w 5334941"/>
              <a:gd name="connsiteY2" fmla="*/ 295361 h 7832403"/>
              <a:gd name="connsiteX3" fmla="*/ 5332794 w 5334941"/>
              <a:gd name="connsiteY3" fmla="*/ 3610061 h 7832403"/>
              <a:gd name="connsiteX4" fmla="*/ 3217704 w 5334941"/>
              <a:gd name="connsiteY4" fmla="*/ 7153361 h 7832403"/>
              <a:gd name="connsiteX5" fmla="*/ 646493 w 5334941"/>
              <a:gd name="connsiteY5" fmla="*/ 7135777 h 7832403"/>
              <a:gd name="connsiteX0" fmla="*/ 182720 w 4871168"/>
              <a:gd name="connsiteY0" fmla="*/ 7135777 h 7832403"/>
              <a:gd name="connsiteX1" fmla="*/ 200306 w 4871168"/>
              <a:gd name="connsiteY1" fmla="*/ 304153 h 7832403"/>
              <a:gd name="connsiteX2" fmla="*/ 3105623 w 4871168"/>
              <a:gd name="connsiteY2" fmla="*/ 295361 h 7832403"/>
              <a:gd name="connsiteX3" fmla="*/ 4869021 w 4871168"/>
              <a:gd name="connsiteY3" fmla="*/ 3610061 h 7832403"/>
              <a:gd name="connsiteX4" fmla="*/ 2753931 w 4871168"/>
              <a:gd name="connsiteY4" fmla="*/ 7153361 h 7832403"/>
              <a:gd name="connsiteX5" fmla="*/ 182720 w 4871168"/>
              <a:gd name="connsiteY5" fmla="*/ 7135777 h 7832403"/>
              <a:gd name="connsiteX0" fmla="*/ 182720 w 4871168"/>
              <a:gd name="connsiteY0" fmla="*/ 7124471 h 7821097"/>
              <a:gd name="connsiteX1" fmla="*/ 200306 w 4871168"/>
              <a:gd name="connsiteY1" fmla="*/ 292847 h 7821097"/>
              <a:gd name="connsiteX2" fmla="*/ 3105623 w 4871168"/>
              <a:gd name="connsiteY2" fmla="*/ 284055 h 7821097"/>
              <a:gd name="connsiteX3" fmla="*/ 4869021 w 4871168"/>
              <a:gd name="connsiteY3" fmla="*/ 3598755 h 7821097"/>
              <a:gd name="connsiteX4" fmla="*/ 2753931 w 4871168"/>
              <a:gd name="connsiteY4" fmla="*/ 7142055 h 7821097"/>
              <a:gd name="connsiteX5" fmla="*/ 182720 w 4871168"/>
              <a:gd name="connsiteY5" fmla="*/ 7124471 h 7821097"/>
              <a:gd name="connsiteX0" fmla="*/ 182720 w 4871168"/>
              <a:gd name="connsiteY0" fmla="*/ 7133321 h 7829947"/>
              <a:gd name="connsiteX1" fmla="*/ 200306 w 4871168"/>
              <a:gd name="connsiteY1" fmla="*/ 301697 h 7829947"/>
              <a:gd name="connsiteX2" fmla="*/ 3105623 w 4871168"/>
              <a:gd name="connsiteY2" fmla="*/ 292905 h 7829947"/>
              <a:gd name="connsiteX3" fmla="*/ 4869021 w 4871168"/>
              <a:gd name="connsiteY3" fmla="*/ 3607605 h 7829947"/>
              <a:gd name="connsiteX4" fmla="*/ 2753931 w 4871168"/>
              <a:gd name="connsiteY4" fmla="*/ 7150905 h 7829947"/>
              <a:gd name="connsiteX5" fmla="*/ 182720 w 4871168"/>
              <a:gd name="connsiteY5" fmla="*/ 7133321 h 7829947"/>
              <a:gd name="connsiteX0" fmla="*/ 186720 w 4875168"/>
              <a:gd name="connsiteY0" fmla="*/ 7137599 h 7835370"/>
              <a:gd name="connsiteX1" fmla="*/ 191837 w 4875168"/>
              <a:gd name="connsiteY1" fmla="*/ 289350 h 7835370"/>
              <a:gd name="connsiteX2" fmla="*/ 3109623 w 4875168"/>
              <a:gd name="connsiteY2" fmla="*/ 297183 h 7835370"/>
              <a:gd name="connsiteX3" fmla="*/ 4873021 w 4875168"/>
              <a:gd name="connsiteY3" fmla="*/ 3611883 h 7835370"/>
              <a:gd name="connsiteX4" fmla="*/ 2757931 w 4875168"/>
              <a:gd name="connsiteY4" fmla="*/ 7155183 h 7835370"/>
              <a:gd name="connsiteX5" fmla="*/ 186720 w 4875168"/>
              <a:gd name="connsiteY5" fmla="*/ 7137599 h 7835370"/>
              <a:gd name="connsiteX0" fmla="*/ 171307 w 4859755"/>
              <a:gd name="connsiteY0" fmla="*/ 7112714 h 7803338"/>
              <a:gd name="connsiteX1" fmla="*/ 226300 w 4859755"/>
              <a:gd name="connsiteY1" fmla="*/ 368374 h 7803338"/>
              <a:gd name="connsiteX2" fmla="*/ 3094210 w 4859755"/>
              <a:gd name="connsiteY2" fmla="*/ 272298 h 7803338"/>
              <a:gd name="connsiteX3" fmla="*/ 4857608 w 4859755"/>
              <a:gd name="connsiteY3" fmla="*/ 3586998 h 7803338"/>
              <a:gd name="connsiteX4" fmla="*/ 2742518 w 4859755"/>
              <a:gd name="connsiteY4" fmla="*/ 7130298 h 7803338"/>
              <a:gd name="connsiteX5" fmla="*/ 171307 w 4859755"/>
              <a:gd name="connsiteY5" fmla="*/ 7112714 h 7803338"/>
              <a:gd name="connsiteX0" fmla="*/ 184041 w 4872489"/>
              <a:gd name="connsiteY0" fmla="*/ 7134379 h 7831291"/>
              <a:gd name="connsiteX1" fmla="*/ 197470 w 4872489"/>
              <a:gd name="connsiteY1" fmla="*/ 298599 h 7831291"/>
              <a:gd name="connsiteX2" fmla="*/ 3106944 w 4872489"/>
              <a:gd name="connsiteY2" fmla="*/ 293963 h 7831291"/>
              <a:gd name="connsiteX3" fmla="*/ 4870342 w 4872489"/>
              <a:gd name="connsiteY3" fmla="*/ 3608663 h 7831291"/>
              <a:gd name="connsiteX4" fmla="*/ 2755252 w 4872489"/>
              <a:gd name="connsiteY4" fmla="*/ 7151963 h 7831291"/>
              <a:gd name="connsiteX5" fmla="*/ 184041 w 4872489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9716 w 4868927"/>
              <a:gd name="connsiteY0" fmla="*/ 7152851 h 7842196"/>
              <a:gd name="connsiteX1" fmla="*/ 193908 w 4868927"/>
              <a:gd name="connsiteY1" fmla="*/ 298599 h 7842196"/>
              <a:gd name="connsiteX2" fmla="*/ 3103382 w 4868927"/>
              <a:gd name="connsiteY2" fmla="*/ 293963 h 7842196"/>
              <a:gd name="connsiteX3" fmla="*/ 4866780 w 4868927"/>
              <a:gd name="connsiteY3" fmla="*/ 3608663 h 7842196"/>
              <a:gd name="connsiteX4" fmla="*/ 2751690 w 4868927"/>
              <a:gd name="connsiteY4" fmla="*/ 7151963 h 7842196"/>
              <a:gd name="connsiteX5" fmla="*/ 189716 w 4868927"/>
              <a:gd name="connsiteY5" fmla="*/ 7152851 h 7842196"/>
              <a:gd name="connsiteX0" fmla="*/ 2 w 4679213"/>
              <a:gd name="connsiteY0" fmla="*/ 7152851 h 7447842"/>
              <a:gd name="connsiteX1" fmla="*/ 4194 w 4679213"/>
              <a:gd name="connsiteY1" fmla="*/ 298599 h 7447842"/>
              <a:gd name="connsiteX2" fmla="*/ 2913668 w 4679213"/>
              <a:gd name="connsiteY2" fmla="*/ 293963 h 7447842"/>
              <a:gd name="connsiteX3" fmla="*/ 4677066 w 4679213"/>
              <a:gd name="connsiteY3" fmla="*/ 3608663 h 7447842"/>
              <a:gd name="connsiteX4" fmla="*/ 2561976 w 4679213"/>
              <a:gd name="connsiteY4" fmla="*/ 7151963 h 7447842"/>
              <a:gd name="connsiteX5" fmla="*/ 2 w 4679213"/>
              <a:gd name="connsiteY5" fmla="*/ 7152851 h 7447842"/>
              <a:gd name="connsiteX0" fmla="*/ 232986 w 4675130"/>
              <a:gd name="connsiteY0" fmla="*/ 7082039 h 7430577"/>
              <a:gd name="connsiteX1" fmla="*/ 111 w 4675130"/>
              <a:gd name="connsiteY1" fmla="*/ 298599 h 7430577"/>
              <a:gd name="connsiteX2" fmla="*/ 2909585 w 4675130"/>
              <a:gd name="connsiteY2" fmla="*/ 293963 h 7430577"/>
              <a:gd name="connsiteX3" fmla="*/ 4672983 w 4675130"/>
              <a:gd name="connsiteY3" fmla="*/ 3608663 h 7430577"/>
              <a:gd name="connsiteX4" fmla="*/ 2557893 w 4675130"/>
              <a:gd name="connsiteY4" fmla="*/ 7151963 h 7430577"/>
              <a:gd name="connsiteX5" fmla="*/ 232986 w 4675130"/>
              <a:gd name="connsiteY5" fmla="*/ 7082039 h 7430577"/>
              <a:gd name="connsiteX0" fmla="*/ 1481 w 4677613"/>
              <a:gd name="connsiteY0" fmla="*/ 7149773 h 7447048"/>
              <a:gd name="connsiteX1" fmla="*/ 2594 w 4677613"/>
              <a:gd name="connsiteY1" fmla="*/ 298599 h 7447048"/>
              <a:gd name="connsiteX2" fmla="*/ 2912068 w 4677613"/>
              <a:gd name="connsiteY2" fmla="*/ 293963 h 7447048"/>
              <a:gd name="connsiteX3" fmla="*/ 4675466 w 4677613"/>
              <a:gd name="connsiteY3" fmla="*/ 3608663 h 7447048"/>
              <a:gd name="connsiteX4" fmla="*/ 2560376 w 4677613"/>
              <a:gd name="connsiteY4" fmla="*/ 7151963 h 7447048"/>
              <a:gd name="connsiteX5" fmla="*/ 1481 w 4677613"/>
              <a:gd name="connsiteY5" fmla="*/ 7149773 h 7447048"/>
              <a:gd name="connsiteX0" fmla="*/ 165734 w 4841866"/>
              <a:gd name="connsiteY0" fmla="*/ 7139154 h 7826771"/>
              <a:gd name="connsiteX1" fmla="*/ 246896 w 4841866"/>
              <a:gd name="connsiteY1" fmla="*/ 331083 h 7826771"/>
              <a:gd name="connsiteX2" fmla="*/ 3076321 w 4841866"/>
              <a:gd name="connsiteY2" fmla="*/ 283344 h 7826771"/>
              <a:gd name="connsiteX3" fmla="*/ 4839719 w 4841866"/>
              <a:gd name="connsiteY3" fmla="*/ 3598044 h 7826771"/>
              <a:gd name="connsiteX4" fmla="*/ 2724629 w 4841866"/>
              <a:gd name="connsiteY4" fmla="*/ 7141344 h 7826771"/>
              <a:gd name="connsiteX5" fmla="*/ 165734 w 4841866"/>
              <a:gd name="connsiteY5" fmla="*/ 7139154 h 7826771"/>
              <a:gd name="connsiteX0" fmla="*/ 192597 w 4868729"/>
              <a:gd name="connsiteY0" fmla="*/ 7111990 h 7790893"/>
              <a:gd name="connsiteX1" fmla="*/ 187553 w 4868729"/>
              <a:gd name="connsiteY1" fmla="*/ 430149 h 7790893"/>
              <a:gd name="connsiteX2" fmla="*/ 3103184 w 4868729"/>
              <a:gd name="connsiteY2" fmla="*/ 256180 h 7790893"/>
              <a:gd name="connsiteX3" fmla="*/ 4866582 w 4868729"/>
              <a:gd name="connsiteY3" fmla="*/ 3570880 h 7790893"/>
              <a:gd name="connsiteX4" fmla="*/ 2751492 w 4868729"/>
              <a:gd name="connsiteY4" fmla="*/ 7114180 h 7790893"/>
              <a:gd name="connsiteX5" fmla="*/ 192597 w 4868729"/>
              <a:gd name="connsiteY5" fmla="*/ 7111990 h 7790893"/>
              <a:gd name="connsiteX0" fmla="*/ 135176 w 4811308"/>
              <a:gd name="connsiteY0" fmla="*/ 7105556 h 7782125"/>
              <a:gd name="connsiteX1" fmla="*/ 336411 w 4811308"/>
              <a:gd name="connsiteY1" fmla="*/ 457582 h 7782125"/>
              <a:gd name="connsiteX2" fmla="*/ 3045763 w 4811308"/>
              <a:gd name="connsiteY2" fmla="*/ 249746 h 7782125"/>
              <a:gd name="connsiteX3" fmla="*/ 4809161 w 4811308"/>
              <a:gd name="connsiteY3" fmla="*/ 3564446 h 7782125"/>
              <a:gd name="connsiteX4" fmla="*/ 2694071 w 4811308"/>
              <a:gd name="connsiteY4" fmla="*/ 7107746 h 7782125"/>
              <a:gd name="connsiteX5" fmla="*/ 135176 w 4811308"/>
              <a:gd name="connsiteY5" fmla="*/ 7105556 h 7782125"/>
              <a:gd name="connsiteX0" fmla="*/ 157213 w 4833345"/>
              <a:gd name="connsiteY0" fmla="*/ 7115639 h 7795816"/>
              <a:gd name="connsiteX1" fmla="*/ 269163 w 4833345"/>
              <a:gd name="connsiteY1" fmla="*/ 415325 h 7795816"/>
              <a:gd name="connsiteX2" fmla="*/ 3067800 w 4833345"/>
              <a:gd name="connsiteY2" fmla="*/ 259829 h 7795816"/>
              <a:gd name="connsiteX3" fmla="*/ 4831198 w 4833345"/>
              <a:gd name="connsiteY3" fmla="*/ 3574529 h 7795816"/>
              <a:gd name="connsiteX4" fmla="*/ 2716108 w 4833345"/>
              <a:gd name="connsiteY4" fmla="*/ 7117829 h 7795816"/>
              <a:gd name="connsiteX5" fmla="*/ 157213 w 4833345"/>
              <a:gd name="connsiteY5" fmla="*/ 7115639 h 7795816"/>
              <a:gd name="connsiteX0" fmla="*/ 156353 w 4832485"/>
              <a:gd name="connsiteY0" fmla="*/ 7115639 h 7795816"/>
              <a:gd name="connsiteX1" fmla="*/ 268303 w 4832485"/>
              <a:gd name="connsiteY1" fmla="*/ 415325 h 7795816"/>
              <a:gd name="connsiteX2" fmla="*/ 3066940 w 4832485"/>
              <a:gd name="connsiteY2" fmla="*/ 259829 h 7795816"/>
              <a:gd name="connsiteX3" fmla="*/ 4830338 w 4832485"/>
              <a:gd name="connsiteY3" fmla="*/ 3574529 h 7795816"/>
              <a:gd name="connsiteX4" fmla="*/ 2715248 w 4832485"/>
              <a:gd name="connsiteY4" fmla="*/ 7117829 h 7795816"/>
              <a:gd name="connsiteX5" fmla="*/ 156353 w 4832485"/>
              <a:gd name="connsiteY5" fmla="*/ 7115639 h 7795816"/>
              <a:gd name="connsiteX0" fmla="*/ 162218 w 4838350"/>
              <a:gd name="connsiteY0" fmla="*/ 7153758 h 7845421"/>
              <a:gd name="connsiteX1" fmla="*/ 252617 w 4838350"/>
              <a:gd name="connsiteY1" fmla="*/ 287189 h 7845421"/>
              <a:gd name="connsiteX2" fmla="*/ 3072805 w 4838350"/>
              <a:gd name="connsiteY2" fmla="*/ 297948 h 7845421"/>
              <a:gd name="connsiteX3" fmla="*/ 4836203 w 4838350"/>
              <a:gd name="connsiteY3" fmla="*/ 3612648 h 7845421"/>
              <a:gd name="connsiteX4" fmla="*/ 2721113 w 4838350"/>
              <a:gd name="connsiteY4" fmla="*/ 7155948 h 7845421"/>
              <a:gd name="connsiteX5" fmla="*/ 162218 w 4838350"/>
              <a:gd name="connsiteY5" fmla="*/ 7153758 h 7845421"/>
              <a:gd name="connsiteX0" fmla="*/ 162218 w 4838350"/>
              <a:gd name="connsiteY0" fmla="*/ 7127231 h 7811232"/>
              <a:gd name="connsiteX1" fmla="*/ 252617 w 4838350"/>
              <a:gd name="connsiteY1" fmla="*/ 371498 h 7811232"/>
              <a:gd name="connsiteX2" fmla="*/ 3072805 w 4838350"/>
              <a:gd name="connsiteY2" fmla="*/ 271421 h 7811232"/>
              <a:gd name="connsiteX3" fmla="*/ 4836203 w 4838350"/>
              <a:gd name="connsiteY3" fmla="*/ 3586121 h 7811232"/>
              <a:gd name="connsiteX4" fmla="*/ 2721113 w 4838350"/>
              <a:gd name="connsiteY4" fmla="*/ 7129421 h 7811232"/>
              <a:gd name="connsiteX5" fmla="*/ 162218 w 4838350"/>
              <a:gd name="connsiteY5" fmla="*/ 7127231 h 7811232"/>
              <a:gd name="connsiteX0" fmla="*/ 169100 w 4845232"/>
              <a:gd name="connsiteY0" fmla="*/ 7127237 h 7811238"/>
              <a:gd name="connsiteX1" fmla="*/ 259499 w 4845232"/>
              <a:gd name="connsiteY1" fmla="*/ 371504 h 7811238"/>
              <a:gd name="connsiteX2" fmla="*/ 3079687 w 4845232"/>
              <a:gd name="connsiteY2" fmla="*/ 271427 h 7811238"/>
              <a:gd name="connsiteX3" fmla="*/ 4843085 w 4845232"/>
              <a:gd name="connsiteY3" fmla="*/ 3586127 h 7811238"/>
              <a:gd name="connsiteX4" fmla="*/ 2727995 w 4845232"/>
              <a:gd name="connsiteY4" fmla="*/ 7129427 h 7811238"/>
              <a:gd name="connsiteX5" fmla="*/ 169100 w 4845232"/>
              <a:gd name="connsiteY5" fmla="*/ 7127237 h 7811238"/>
              <a:gd name="connsiteX0" fmla="*/ 219843 w 4895975"/>
              <a:gd name="connsiteY0" fmla="*/ 7118137 h 7799163"/>
              <a:gd name="connsiteX1" fmla="*/ 162460 w 4895975"/>
              <a:gd name="connsiteY1" fmla="*/ 405507 h 7799163"/>
              <a:gd name="connsiteX2" fmla="*/ 3130430 w 4895975"/>
              <a:gd name="connsiteY2" fmla="*/ 262327 h 7799163"/>
              <a:gd name="connsiteX3" fmla="*/ 4893828 w 4895975"/>
              <a:gd name="connsiteY3" fmla="*/ 3577027 h 7799163"/>
              <a:gd name="connsiteX4" fmla="*/ 2778738 w 4895975"/>
              <a:gd name="connsiteY4" fmla="*/ 7120327 h 7799163"/>
              <a:gd name="connsiteX5" fmla="*/ 219843 w 4895975"/>
              <a:gd name="connsiteY5" fmla="*/ 7118137 h 7799163"/>
              <a:gd name="connsiteX0" fmla="*/ 202277 w 4878409"/>
              <a:gd name="connsiteY0" fmla="*/ 7113808 h 7793348"/>
              <a:gd name="connsiteX1" fmla="*/ 191076 w 4878409"/>
              <a:gd name="connsiteY1" fmla="*/ 422730 h 7793348"/>
              <a:gd name="connsiteX2" fmla="*/ 3112864 w 4878409"/>
              <a:gd name="connsiteY2" fmla="*/ 257998 h 7793348"/>
              <a:gd name="connsiteX3" fmla="*/ 4876262 w 4878409"/>
              <a:gd name="connsiteY3" fmla="*/ 3572698 h 7793348"/>
              <a:gd name="connsiteX4" fmla="*/ 2761172 w 4878409"/>
              <a:gd name="connsiteY4" fmla="*/ 7115998 h 7793348"/>
              <a:gd name="connsiteX5" fmla="*/ 202277 w 4878409"/>
              <a:gd name="connsiteY5" fmla="*/ 7113808 h 7793348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85583 w 4761715"/>
              <a:gd name="connsiteY0" fmla="*/ 7107672 h 7785019"/>
              <a:gd name="connsiteX1" fmla="*/ 82333 w 4761715"/>
              <a:gd name="connsiteY1" fmla="*/ 448399 h 7785019"/>
              <a:gd name="connsiteX2" fmla="*/ 2996170 w 4761715"/>
              <a:gd name="connsiteY2" fmla="*/ 251862 h 7785019"/>
              <a:gd name="connsiteX3" fmla="*/ 4759568 w 4761715"/>
              <a:gd name="connsiteY3" fmla="*/ 3566562 h 7785019"/>
              <a:gd name="connsiteX4" fmla="*/ 2644478 w 4761715"/>
              <a:gd name="connsiteY4" fmla="*/ 7109862 h 7785019"/>
              <a:gd name="connsiteX5" fmla="*/ 85583 w 4761715"/>
              <a:gd name="connsiteY5" fmla="*/ 7107672 h 7785019"/>
              <a:gd name="connsiteX0" fmla="*/ 85583 w 4761715"/>
              <a:gd name="connsiteY0" fmla="*/ 7074631 h 7751978"/>
              <a:gd name="connsiteX1" fmla="*/ 82333 w 4761715"/>
              <a:gd name="connsiteY1" fmla="*/ 415358 h 7751978"/>
              <a:gd name="connsiteX2" fmla="*/ 2996170 w 4761715"/>
              <a:gd name="connsiteY2" fmla="*/ 218821 h 7751978"/>
              <a:gd name="connsiteX3" fmla="*/ 4759568 w 4761715"/>
              <a:gd name="connsiteY3" fmla="*/ 3533521 h 7751978"/>
              <a:gd name="connsiteX4" fmla="*/ 2644478 w 4761715"/>
              <a:gd name="connsiteY4" fmla="*/ 7076821 h 7751978"/>
              <a:gd name="connsiteX5" fmla="*/ 85583 w 4761715"/>
              <a:gd name="connsiteY5" fmla="*/ 7074631 h 7751978"/>
              <a:gd name="connsiteX0" fmla="*/ 157610 w 4833742"/>
              <a:gd name="connsiteY0" fmla="*/ 7074631 h 7751978"/>
              <a:gd name="connsiteX1" fmla="*/ 154360 w 4833742"/>
              <a:gd name="connsiteY1" fmla="*/ 415358 h 7751978"/>
              <a:gd name="connsiteX2" fmla="*/ 3068197 w 4833742"/>
              <a:gd name="connsiteY2" fmla="*/ 218821 h 7751978"/>
              <a:gd name="connsiteX3" fmla="*/ 4831595 w 4833742"/>
              <a:gd name="connsiteY3" fmla="*/ 3533521 h 7751978"/>
              <a:gd name="connsiteX4" fmla="*/ 2716505 w 4833742"/>
              <a:gd name="connsiteY4" fmla="*/ 7076821 h 7751978"/>
              <a:gd name="connsiteX5" fmla="*/ 157610 w 4833742"/>
              <a:gd name="connsiteY5" fmla="*/ 7074631 h 7751978"/>
              <a:gd name="connsiteX0" fmla="*/ 345911 w 5022043"/>
              <a:gd name="connsiteY0" fmla="*/ 7098958 h 7776305"/>
              <a:gd name="connsiteX1" fmla="*/ 342661 w 5022043"/>
              <a:gd name="connsiteY1" fmla="*/ 439685 h 7776305"/>
              <a:gd name="connsiteX2" fmla="*/ 3256498 w 5022043"/>
              <a:gd name="connsiteY2" fmla="*/ 243148 h 7776305"/>
              <a:gd name="connsiteX3" fmla="*/ 5019896 w 5022043"/>
              <a:gd name="connsiteY3" fmla="*/ 3557848 h 7776305"/>
              <a:gd name="connsiteX4" fmla="*/ 2904806 w 5022043"/>
              <a:gd name="connsiteY4" fmla="*/ 7101148 h 7776305"/>
              <a:gd name="connsiteX5" fmla="*/ 345911 w 5022043"/>
              <a:gd name="connsiteY5" fmla="*/ 7098958 h 7776305"/>
              <a:gd name="connsiteX0" fmla="*/ 190117 w 4866249"/>
              <a:gd name="connsiteY0" fmla="*/ 7193225 h 7870572"/>
              <a:gd name="connsiteX1" fmla="*/ 186867 w 4866249"/>
              <a:gd name="connsiteY1" fmla="*/ 533952 h 7870572"/>
              <a:gd name="connsiteX2" fmla="*/ 3100704 w 4866249"/>
              <a:gd name="connsiteY2" fmla="*/ 337415 h 7870572"/>
              <a:gd name="connsiteX3" fmla="*/ 4864102 w 4866249"/>
              <a:gd name="connsiteY3" fmla="*/ 3652115 h 7870572"/>
              <a:gd name="connsiteX4" fmla="*/ 2749012 w 4866249"/>
              <a:gd name="connsiteY4" fmla="*/ 7195415 h 7870572"/>
              <a:gd name="connsiteX5" fmla="*/ 190117 w 4866249"/>
              <a:gd name="connsiteY5" fmla="*/ 7193225 h 7870572"/>
              <a:gd name="connsiteX0" fmla="*/ 188894 w 4865026"/>
              <a:gd name="connsiteY0" fmla="*/ 7274677 h 7967496"/>
              <a:gd name="connsiteX1" fmla="*/ 189317 w 4865026"/>
              <a:gd name="connsiteY1" fmla="*/ 391394 h 7967496"/>
              <a:gd name="connsiteX2" fmla="*/ 3099481 w 4865026"/>
              <a:gd name="connsiteY2" fmla="*/ 418867 h 7967496"/>
              <a:gd name="connsiteX3" fmla="*/ 4862879 w 4865026"/>
              <a:gd name="connsiteY3" fmla="*/ 3733567 h 7967496"/>
              <a:gd name="connsiteX4" fmla="*/ 2747789 w 4865026"/>
              <a:gd name="connsiteY4" fmla="*/ 7276867 h 7967496"/>
              <a:gd name="connsiteX5" fmla="*/ 188894 w 4865026"/>
              <a:gd name="connsiteY5" fmla="*/ 7274677 h 7967496"/>
              <a:gd name="connsiteX0" fmla="*/ 192591 w 4868723"/>
              <a:gd name="connsiteY0" fmla="*/ 7277850 h 7971178"/>
              <a:gd name="connsiteX1" fmla="*/ 181997 w 4868723"/>
              <a:gd name="connsiteY1" fmla="*/ 387222 h 7971178"/>
              <a:gd name="connsiteX2" fmla="*/ 3103178 w 4868723"/>
              <a:gd name="connsiteY2" fmla="*/ 422040 h 7971178"/>
              <a:gd name="connsiteX3" fmla="*/ 4866576 w 4868723"/>
              <a:gd name="connsiteY3" fmla="*/ 3736740 h 7971178"/>
              <a:gd name="connsiteX4" fmla="*/ 2751486 w 4868723"/>
              <a:gd name="connsiteY4" fmla="*/ 7280040 h 7971178"/>
              <a:gd name="connsiteX5" fmla="*/ 192591 w 4868723"/>
              <a:gd name="connsiteY5" fmla="*/ 7277850 h 7971178"/>
              <a:gd name="connsiteX0" fmla="*/ 193427 w 4869559"/>
              <a:gd name="connsiteY0" fmla="*/ 7163116 h 7856444"/>
              <a:gd name="connsiteX1" fmla="*/ 182833 w 4869559"/>
              <a:gd name="connsiteY1" fmla="*/ 272488 h 7856444"/>
              <a:gd name="connsiteX2" fmla="*/ 3104014 w 4869559"/>
              <a:gd name="connsiteY2" fmla="*/ 307306 h 7856444"/>
              <a:gd name="connsiteX3" fmla="*/ 4867412 w 4869559"/>
              <a:gd name="connsiteY3" fmla="*/ 3622006 h 7856444"/>
              <a:gd name="connsiteX4" fmla="*/ 2752322 w 4869559"/>
              <a:gd name="connsiteY4" fmla="*/ 7165306 h 7856444"/>
              <a:gd name="connsiteX5" fmla="*/ 193427 w 4869559"/>
              <a:gd name="connsiteY5" fmla="*/ 7163116 h 7856444"/>
              <a:gd name="connsiteX0" fmla="*/ 170155 w 4846287"/>
              <a:gd name="connsiteY0" fmla="*/ 7143047 h 7831040"/>
              <a:gd name="connsiteX1" fmla="*/ 233007 w 4846287"/>
              <a:gd name="connsiteY1" fmla="*/ 329537 h 7831040"/>
              <a:gd name="connsiteX2" fmla="*/ 3080742 w 4846287"/>
              <a:gd name="connsiteY2" fmla="*/ 287237 h 7831040"/>
              <a:gd name="connsiteX3" fmla="*/ 4844140 w 4846287"/>
              <a:gd name="connsiteY3" fmla="*/ 3601937 h 7831040"/>
              <a:gd name="connsiteX4" fmla="*/ 2729050 w 4846287"/>
              <a:gd name="connsiteY4" fmla="*/ 7145237 h 7831040"/>
              <a:gd name="connsiteX5" fmla="*/ 170155 w 4846287"/>
              <a:gd name="connsiteY5" fmla="*/ 7143047 h 7831040"/>
              <a:gd name="connsiteX0" fmla="*/ 188486 w 4864618"/>
              <a:gd name="connsiteY0" fmla="*/ 7162098 h 7855172"/>
              <a:gd name="connsiteX1" fmla="*/ 192581 w 4864618"/>
              <a:gd name="connsiteY1" fmla="*/ 275143 h 7855172"/>
              <a:gd name="connsiteX2" fmla="*/ 3099073 w 4864618"/>
              <a:gd name="connsiteY2" fmla="*/ 306288 h 7855172"/>
              <a:gd name="connsiteX3" fmla="*/ 4862471 w 4864618"/>
              <a:gd name="connsiteY3" fmla="*/ 3620988 h 7855172"/>
              <a:gd name="connsiteX4" fmla="*/ 2747381 w 4864618"/>
              <a:gd name="connsiteY4" fmla="*/ 7164288 h 7855172"/>
              <a:gd name="connsiteX5" fmla="*/ 188486 w 4864618"/>
              <a:gd name="connsiteY5" fmla="*/ 7162098 h 785517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181559 h 7874633"/>
              <a:gd name="connsiteX1" fmla="*/ 344138 w 5016181"/>
              <a:gd name="connsiteY1" fmla="*/ 294604 h 7874633"/>
              <a:gd name="connsiteX2" fmla="*/ 3254303 w 5016181"/>
              <a:gd name="connsiteY2" fmla="*/ 296371 h 7874633"/>
              <a:gd name="connsiteX3" fmla="*/ 5014028 w 5016181"/>
              <a:gd name="connsiteY3" fmla="*/ 3640449 h 7874633"/>
              <a:gd name="connsiteX4" fmla="*/ 2898938 w 5016181"/>
              <a:gd name="connsiteY4" fmla="*/ 7183749 h 7874633"/>
              <a:gd name="connsiteX5" fmla="*/ 340043 w 5016181"/>
              <a:gd name="connsiteY5" fmla="*/ 7181559 h 7874633"/>
              <a:gd name="connsiteX0" fmla="*/ 340043 w 5016181"/>
              <a:gd name="connsiteY0" fmla="*/ 7183197 h 7876271"/>
              <a:gd name="connsiteX1" fmla="*/ 344138 w 5016181"/>
              <a:gd name="connsiteY1" fmla="*/ 296242 h 7876271"/>
              <a:gd name="connsiteX2" fmla="*/ 3254303 w 5016181"/>
              <a:gd name="connsiteY2" fmla="*/ 298009 h 7876271"/>
              <a:gd name="connsiteX3" fmla="*/ 5014028 w 5016181"/>
              <a:gd name="connsiteY3" fmla="*/ 3642087 h 7876271"/>
              <a:gd name="connsiteX4" fmla="*/ 2898938 w 5016181"/>
              <a:gd name="connsiteY4" fmla="*/ 7185387 h 7876271"/>
              <a:gd name="connsiteX5" fmla="*/ 340043 w 5016181"/>
              <a:gd name="connsiteY5" fmla="*/ 7183197 h 7876271"/>
              <a:gd name="connsiteX0" fmla="*/ 340043 w 5016181"/>
              <a:gd name="connsiteY0" fmla="*/ 7184031 h 7877324"/>
              <a:gd name="connsiteX1" fmla="*/ 344138 w 5016181"/>
              <a:gd name="connsiteY1" fmla="*/ 293901 h 7877324"/>
              <a:gd name="connsiteX2" fmla="*/ 3254303 w 5016181"/>
              <a:gd name="connsiteY2" fmla="*/ 298843 h 7877324"/>
              <a:gd name="connsiteX3" fmla="*/ 5014028 w 5016181"/>
              <a:gd name="connsiteY3" fmla="*/ 3642921 h 7877324"/>
              <a:gd name="connsiteX4" fmla="*/ 2898938 w 5016181"/>
              <a:gd name="connsiteY4" fmla="*/ 7186221 h 7877324"/>
              <a:gd name="connsiteX5" fmla="*/ 340043 w 5016181"/>
              <a:gd name="connsiteY5" fmla="*/ 7184031 h 7877324"/>
              <a:gd name="connsiteX0" fmla="*/ 338200 w 5014338"/>
              <a:gd name="connsiteY0" fmla="*/ 7184031 h 7877324"/>
              <a:gd name="connsiteX1" fmla="*/ 345470 w 5014338"/>
              <a:gd name="connsiteY1" fmla="*/ 293901 h 7877324"/>
              <a:gd name="connsiteX2" fmla="*/ 3252460 w 5014338"/>
              <a:gd name="connsiteY2" fmla="*/ 298843 h 7877324"/>
              <a:gd name="connsiteX3" fmla="*/ 5012185 w 5014338"/>
              <a:gd name="connsiteY3" fmla="*/ 3642921 h 7877324"/>
              <a:gd name="connsiteX4" fmla="*/ 2897095 w 5014338"/>
              <a:gd name="connsiteY4" fmla="*/ 7186221 h 7877324"/>
              <a:gd name="connsiteX5" fmla="*/ 338200 w 5014338"/>
              <a:gd name="connsiteY5" fmla="*/ 7184031 h 7877324"/>
              <a:gd name="connsiteX0" fmla="*/ 338200 w 5014338"/>
              <a:gd name="connsiteY0" fmla="*/ 7183318 h 7876611"/>
              <a:gd name="connsiteX1" fmla="*/ 345470 w 5014338"/>
              <a:gd name="connsiteY1" fmla="*/ 293188 h 7876611"/>
              <a:gd name="connsiteX2" fmla="*/ 3252460 w 5014338"/>
              <a:gd name="connsiteY2" fmla="*/ 298130 h 7876611"/>
              <a:gd name="connsiteX3" fmla="*/ 5012185 w 5014338"/>
              <a:gd name="connsiteY3" fmla="*/ 3642208 h 7876611"/>
              <a:gd name="connsiteX4" fmla="*/ 2897095 w 5014338"/>
              <a:gd name="connsiteY4" fmla="*/ 7185508 h 7876611"/>
              <a:gd name="connsiteX5" fmla="*/ 338200 w 5014338"/>
              <a:gd name="connsiteY5" fmla="*/ 7183318 h 7876611"/>
              <a:gd name="connsiteX0" fmla="*/ 189227 w 4865365"/>
              <a:gd name="connsiteY0" fmla="*/ 7183318 h 7876611"/>
              <a:gd name="connsiteX1" fmla="*/ 196497 w 4865365"/>
              <a:gd name="connsiteY1" fmla="*/ 293188 h 7876611"/>
              <a:gd name="connsiteX2" fmla="*/ 3103487 w 4865365"/>
              <a:gd name="connsiteY2" fmla="*/ 298130 h 7876611"/>
              <a:gd name="connsiteX3" fmla="*/ 4863212 w 4865365"/>
              <a:gd name="connsiteY3" fmla="*/ 3642208 h 7876611"/>
              <a:gd name="connsiteX4" fmla="*/ 2748122 w 4865365"/>
              <a:gd name="connsiteY4" fmla="*/ 7185508 h 7876611"/>
              <a:gd name="connsiteX5" fmla="*/ 189227 w 4865365"/>
              <a:gd name="connsiteY5" fmla="*/ 7183318 h 7876611"/>
              <a:gd name="connsiteX0" fmla="*/ 192432 w 4868570"/>
              <a:gd name="connsiteY0" fmla="*/ 7183318 h 7876611"/>
              <a:gd name="connsiteX1" fmla="*/ 190177 w 4868570"/>
              <a:gd name="connsiteY1" fmla="*/ 293188 h 7876611"/>
              <a:gd name="connsiteX2" fmla="*/ 3106692 w 4868570"/>
              <a:gd name="connsiteY2" fmla="*/ 298130 h 7876611"/>
              <a:gd name="connsiteX3" fmla="*/ 4866417 w 4868570"/>
              <a:gd name="connsiteY3" fmla="*/ 3642208 h 7876611"/>
              <a:gd name="connsiteX4" fmla="*/ 2751327 w 4868570"/>
              <a:gd name="connsiteY4" fmla="*/ 7185508 h 7876611"/>
              <a:gd name="connsiteX5" fmla="*/ 192432 w 4868570"/>
              <a:gd name="connsiteY5" fmla="*/ 7183318 h 7876611"/>
              <a:gd name="connsiteX0" fmla="*/ 190287 w 4866425"/>
              <a:gd name="connsiteY0" fmla="*/ 7183318 h 7876611"/>
              <a:gd name="connsiteX1" fmla="*/ 188032 w 4866425"/>
              <a:gd name="connsiteY1" fmla="*/ 293188 h 7876611"/>
              <a:gd name="connsiteX2" fmla="*/ 3104547 w 4866425"/>
              <a:gd name="connsiteY2" fmla="*/ 298130 h 7876611"/>
              <a:gd name="connsiteX3" fmla="*/ 4864272 w 4866425"/>
              <a:gd name="connsiteY3" fmla="*/ 3642208 h 7876611"/>
              <a:gd name="connsiteX4" fmla="*/ 2749182 w 4866425"/>
              <a:gd name="connsiteY4" fmla="*/ 7185508 h 7876611"/>
              <a:gd name="connsiteX5" fmla="*/ 190287 w 4866425"/>
              <a:gd name="connsiteY5" fmla="*/ 7183318 h 7876611"/>
              <a:gd name="connsiteX0" fmla="*/ 190287 w 4866425"/>
              <a:gd name="connsiteY0" fmla="*/ 7154743 h 7859802"/>
              <a:gd name="connsiteX1" fmla="*/ 188032 w 4866425"/>
              <a:gd name="connsiteY1" fmla="*/ 293188 h 7859802"/>
              <a:gd name="connsiteX2" fmla="*/ 3104547 w 4866425"/>
              <a:gd name="connsiteY2" fmla="*/ 298130 h 7859802"/>
              <a:gd name="connsiteX3" fmla="*/ 4864272 w 4866425"/>
              <a:gd name="connsiteY3" fmla="*/ 3642208 h 7859802"/>
              <a:gd name="connsiteX4" fmla="*/ 2749182 w 4866425"/>
              <a:gd name="connsiteY4" fmla="*/ 7185508 h 7859802"/>
              <a:gd name="connsiteX5" fmla="*/ 190287 w 4866425"/>
              <a:gd name="connsiteY5" fmla="*/ 7154743 h 7859802"/>
              <a:gd name="connsiteX0" fmla="*/ 2255 w 4678393"/>
              <a:gd name="connsiteY0" fmla="*/ 7154743 h 7872894"/>
              <a:gd name="connsiteX1" fmla="*/ 0 w 4678393"/>
              <a:gd name="connsiteY1" fmla="*/ 293188 h 7872894"/>
              <a:gd name="connsiteX2" fmla="*/ 2916515 w 4678393"/>
              <a:gd name="connsiteY2" fmla="*/ 298130 h 7872894"/>
              <a:gd name="connsiteX3" fmla="*/ 4676240 w 4678393"/>
              <a:gd name="connsiteY3" fmla="*/ 3642208 h 7872894"/>
              <a:gd name="connsiteX4" fmla="*/ 2561150 w 4678393"/>
              <a:gd name="connsiteY4" fmla="*/ 7185508 h 7872894"/>
              <a:gd name="connsiteX5" fmla="*/ 2255 w 4678393"/>
              <a:gd name="connsiteY5" fmla="*/ 7154743 h 7872894"/>
              <a:gd name="connsiteX0" fmla="*/ 2822 w 4678960"/>
              <a:gd name="connsiteY0" fmla="*/ 7154743 h 7874206"/>
              <a:gd name="connsiteX1" fmla="*/ 567 w 4678960"/>
              <a:gd name="connsiteY1" fmla="*/ 293188 h 7874206"/>
              <a:gd name="connsiteX2" fmla="*/ 2917082 w 4678960"/>
              <a:gd name="connsiteY2" fmla="*/ 298130 h 7874206"/>
              <a:gd name="connsiteX3" fmla="*/ 4676807 w 4678960"/>
              <a:gd name="connsiteY3" fmla="*/ 3642208 h 7874206"/>
              <a:gd name="connsiteX4" fmla="*/ 2561717 w 4678960"/>
              <a:gd name="connsiteY4" fmla="*/ 7185508 h 7874206"/>
              <a:gd name="connsiteX5" fmla="*/ 2822 w 4678960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473936"/>
              <a:gd name="connsiteX1" fmla="*/ 0 w 4678393"/>
              <a:gd name="connsiteY1" fmla="*/ 293188 h 7473936"/>
              <a:gd name="connsiteX2" fmla="*/ 2916515 w 4678393"/>
              <a:gd name="connsiteY2" fmla="*/ 298130 h 7473936"/>
              <a:gd name="connsiteX3" fmla="*/ 4676240 w 4678393"/>
              <a:gd name="connsiteY3" fmla="*/ 3642208 h 7473936"/>
              <a:gd name="connsiteX4" fmla="*/ 2561150 w 4678393"/>
              <a:gd name="connsiteY4" fmla="*/ 7185508 h 7473936"/>
              <a:gd name="connsiteX5" fmla="*/ 2255 w 4678393"/>
              <a:gd name="connsiteY5" fmla="*/ 7154743 h 7473936"/>
              <a:gd name="connsiteX0" fmla="*/ 2255 w 4678393"/>
              <a:gd name="connsiteY0" fmla="*/ 7154743 h 7450206"/>
              <a:gd name="connsiteX1" fmla="*/ 0 w 4678393"/>
              <a:gd name="connsiteY1" fmla="*/ 293188 h 7450206"/>
              <a:gd name="connsiteX2" fmla="*/ 2916515 w 4678393"/>
              <a:gd name="connsiteY2" fmla="*/ 298130 h 7450206"/>
              <a:gd name="connsiteX3" fmla="*/ 4676240 w 4678393"/>
              <a:gd name="connsiteY3" fmla="*/ 3642208 h 7450206"/>
              <a:gd name="connsiteX4" fmla="*/ 2564325 w 4678393"/>
              <a:gd name="connsiteY4" fmla="*/ 7153758 h 7450206"/>
              <a:gd name="connsiteX5" fmla="*/ 2255 w 4678393"/>
              <a:gd name="connsiteY5" fmla="*/ 7154743 h 7450206"/>
              <a:gd name="connsiteX0" fmla="*/ 2255 w 4678393"/>
              <a:gd name="connsiteY0" fmla="*/ 7154743 h 7154743"/>
              <a:gd name="connsiteX1" fmla="*/ 0 w 4678393"/>
              <a:gd name="connsiteY1" fmla="*/ 293188 h 7154743"/>
              <a:gd name="connsiteX2" fmla="*/ 2916515 w 4678393"/>
              <a:gd name="connsiteY2" fmla="*/ 298130 h 7154743"/>
              <a:gd name="connsiteX3" fmla="*/ 4676240 w 4678393"/>
              <a:gd name="connsiteY3" fmla="*/ 3642208 h 7154743"/>
              <a:gd name="connsiteX4" fmla="*/ 2564325 w 4678393"/>
              <a:gd name="connsiteY4" fmla="*/ 7153758 h 7154743"/>
              <a:gd name="connsiteX5" fmla="*/ 2255 w 4678393"/>
              <a:gd name="connsiteY5" fmla="*/ 7154743 h 7154743"/>
              <a:gd name="connsiteX0" fmla="*/ 2255 w 4678393"/>
              <a:gd name="connsiteY0" fmla="*/ 6861555 h 6861555"/>
              <a:gd name="connsiteX1" fmla="*/ 0 w 4678393"/>
              <a:gd name="connsiteY1" fmla="*/ 0 h 6861555"/>
              <a:gd name="connsiteX2" fmla="*/ 2916515 w 4678393"/>
              <a:gd name="connsiteY2" fmla="*/ 4942 h 6861555"/>
              <a:gd name="connsiteX3" fmla="*/ 4676240 w 4678393"/>
              <a:gd name="connsiteY3" fmla="*/ 3349020 h 6861555"/>
              <a:gd name="connsiteX4" fmla="*/ 2564325 w 4678393"/>
              <a:gd name="connsiteY4" fmla="*/ 6860570 h 6861555"/>
              <a:gd name="connsiteX5" fmla="*/ 2255 w 4678393"/>
              <a:gd name="connsiteY5" fmla="*/ 6861555 h 6861555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9009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8377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3061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71578"/>
              <a:gd name="connsiteX1" fmla="*/ 0 w 4678399"/>
              <a:gd name="connsiteY1" fmla="*/ 1408 h 6871578"/>
              <a:gd name="connsiteX2" fmla="*/ 2919690 w 4678399"/>
              <a:gd name="connsiteY2" fmla="*/ 0 h 6871578"/>
              <a:gd name="connsiteX3" fmla="*/ 4676240 w 4678399"/>
              <a:gd name="connsiteY3" fmla="*/ 3350428 h 6871578"/>
              <a:gd name="connsiteX4" fmla="*/ 2521796 w 4678399"/>
              <a:gd name="connsiteY4" fmla="*/ 6871578 h 6871578"/>
              <a:gd name="connsiteX5" fmla="*/ 2255 w 4678399"/>
              <a:gd name="connsiteY5" fmla="*/ 6862963 h 6871578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6240" h="6862963">
                <a:moveTo>
                  <a:pt x="2255" y="6862963"/>
                </a:moveTo>
                <a:cubicBezTo>
                  <a:pt x="847" y="5679318"/>
                  <a:pt x="65" y="1117189"/>
                  <a:pt x="0" y="1408"/>
                </a:cubicBezTo>
                <a:lnTo>
                  <a:pt x="2919690" y="0"/>
                </a:lnTo>
                <a:cubicBezTo>
                  <a:pt x="3347209" y="321191"/>
                  <a:pt x="4644479" y="1245147"/>
                  <a:pt x="4676240" y="3350428"/>
                </a:cubicBezTo>
                <a:cubicBezTo>
                  <a:pt x="4625578" y="5097946"/>
                  <a:pt x="3667890" y="6255680"/>
                  <a:pt x="2516480" y="6860945"/>
                </a:cubicBezTo>
                <a:lnTo>
                  <a:pt x="2255" y="6862963"/>
                </a:lnTo>
                <a:close/>
              </a:path>
            </a:pathLst>
          </a:custGeom>
          <a:ln>
            <a:noFill/>
          </a:ln>
          <a:extLst>
            <a:ext uri="{91240B29-F687-4f45-9708-019B960494DF}"/>
          </a:extLst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39562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76707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5868DF8-0066-C04C-B523-8450D0A451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533600"/>
            <a:ext cx="560134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D81E9A-BFAC-2649-8EA2-1E71B0607B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2174400"/>
            <a:ext cx="5601346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AB4DA10-386C-0E45-8192-A2D9EB1279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9322" y="1534150"/>
            <a:ext cx="5611678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BA2A10C-A80A-324D-B7BC-4A1C81054B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9322" y="2174950"/>
            <a:ext cx="5611678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5153846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3" descr="white_dots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37585" y="3175"/>
            <a:ext cx="11049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32"/>
          <p:cNvSpPr>
            <a:spLocks noGrp="1"/>
          </p:cNvSpPr>
          <p:nvPr>
            <p:ph type="title"/>
          </p:nvPr>
        </p:nvSpPr>
        <p:spPr>
          <a:xfrm>
            <a:off x="1972733" y="2152650"/>
            <a:ext cx="9558867" cy="2552700"/>
          </a:xfrm>
          <a:prstGeom prst="rect">
            <a:avLst/>
          </a:prstGeom>
        </p:spPr>
        <p:txBody>
          <a:bodyPr vert="horz" anchor="ctr"/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32856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5868DF8-0066-C04C-B523-8450D0A451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533600"/>
            <a:ext cx="560134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D81E9A-BFAC-2649-8EA2-1E71B0607B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2174400"/>
            <a:ext cx="5601346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AB4DA10-386C-0E45-8192-A2D9EB1279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9322" y="1534150"/>
            <a:ext cx="5611678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BA2A10C-A80A-324D-B7BC-4A1C81054B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9322" y="2174950"/>
            <a:ext cx="5611678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4802534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rgbClr val="0C0C0C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789884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rgbClr val="0C0C0C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rgbClr val="0C0C0C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rgbClr val="0C0C0C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F9D744F-A08B-5145-BBEA-D42E6BD319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" y="1533600"/>
            <a:ext cx="4430684" cy="44306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6061340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110949"/>
            <a:ext cx="10972800" cy="1143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600" y="1602000"/>
            <a:ext cx="10972800" cy="452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84977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614252" y="1676400"/>
            <a:ext cx="5791200" cy="4343400"/>
          </a:xfrm>
          <a:prstGeom prst="ellipse">
            <a:avLst/>
          </a:prstGeom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330360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5994400" y="1676400"/>
            <a:ext cx="5791200" cy="4343400"/>
          </a:xfrm>
          <a:prstGeom prst="ellipse">
            <a:avLst/>
          </a:prstGeom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154591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 bwMode="ltGray">
          <a:xfrm>
            <a:off x="-17630" y="-9254"/>
            <a:ext cx="6234987" cy="6867254"/>
          </a:xfrm>
          <a:custGeom>
            <a:avLst/>
            <a:gdLst>
              <a:gd name="connsiteX0" fmla="*/ 0 w 8001000"/>
              <a:gd name="connsiteY0" fmla="*/ 4000500 h 8001000"/>
              <a:gd name="connsiteX1" fmla="*/ 4000500 w 8001000"/>
              <a:gd name="connsiteY1" fmla="*/ 0 h 8001000"/>
              <a:gd name="connsiteX2" fmla="*/ 8001000 w 8001000"/>
              <a:gd name="connsiteY2" fmla="*/ 4000500 h 8001000"/>
              <a:gd name="connsiteX3" fmla="*/ 4000500 w 8001000"/>
              <a:gd name="connsiteY3" fmla="*/ 8001000 h 8001000"/>
              <a:gd name="connsiteX4" fmla="*/ 0 w 8001000"/>
              <a:gd name="connsiteY4" fmla="*/ 4000500 h 8001000"/>
              <a:gd name="connsiteX0" fmla="*/ 0 w 8060683"/>
              <a:gd name="connsiteY0" fmla="*/ 4222799 h 8223299"/>
              <a:gd name="connsiteX1" fmla="*/ 4000500 w 8060683"/>
              <a:gd name="connsiteY1" fmla="*/ 222299 h 8223299"/>
              <a:gd name="connsiteX2" fmla="*/ 6237602 w 8060683"/>
              <a:gd name="connsiteY2" fmla="*/ 908099 h 8223299"/>
              <a:gd name="connsiteX3" fmla="*/ 8001000 w 8060683"/>
              <a:gd name="connsiteY3" fmla="*/ 4222799 h 8223299"/>
              <a:gd name="connsiteX4" fmla="*/ 4000500 w 8060683"/>
              <a:gd name="connsiteY4" fmla="*/ 8223299 h 8223299"/>
              <a:gd name="connsiteX5" fmla="*/ 0 w 8060683"/>
              <a:gd name="connsiteY5" fmla="*/ 4222799 h 8223299"/>
              <a:gd name="connsiteX0" fmla="*/ 8055 w 8068738"/>
              <a:gd name="connsiteY0" fmla="*/ 3760842 h 7761342"/>
              <a:gd name="connsiteX1" fmla="*/ 3296378 w 8068738"/>
              <a:gd name="connsiteY1" fmla="*/ 472519 h 7761342"/>
              <a:gd name="connsiteX2" fmla="*/ 6245657 w 8068738"/>
              <a:gd name="connsiteY2" fmla="*/ 446142 h 7761342"/>
              <a:gd name="connsiteX3" fmla="*/ 8009055 w 8068738"/>
              <a:gd name="connsiteY3" fmla="*/ 3760842 h 7761342"/>
              <a:gd name="connsiteX4" fmla="*/ 4008555 w 8068738"/>
              <a:gd name="connsiteY4" fmla="*/ 7761342 h 7761342"/>
              <a:gd name="connsiteX5" fmla="*/ 8055 w 8068738"/>
              <a:gd name="connsiteY5" fmla="*/ 3760842 h 7761342"/>
              <a:gd name="connsiteX0" fmla="*/ 6123 w 8066806"/>
              <a:gd name="connsiteY0" fmla="*/ 3768834 h 7769334"/>
              <a:gd name="connsiteX1" fmla="*/ 3373577 w 8066806"/>
              <a:gd name="connsiteY1" fmla="*/ 462926 h 7769334"/>
              <a:gd name="connsiteX2" fmla="*/ 6243725 w 8066806"/>
              <a:gd name="connsiteY2" fmla="*/ 454134 h 7769334"/>
              <a:gd name="connsiteX3" fmla="*/ 8007123 w 8066806"/>
              <a:gd name="connsiteY3" fmla="*/ 3768834 h 7769334"/>
              <a:gd name="connsiteX4" fmla="*/ 4006623 w 8066806"/>
              <a:gd name="connsiteY4" fmla="*/ 7769334 h 7769334"/>
              <a:gd name="connsiteX5" fmla="*/ 6123 w 8066806"/>
              <a:gd name="connsiteY5" fmla="*/ 3768834 h 7769334"/>
              <a:gd name="connsiteX0" fmla="*/ 6939 w 8067622"/>
              <a:gd name="connsiteY0" fmla="*/ 3768834 h 7769334"/>
              <a:gd name="connsiteX1" fmla="*/ 3339224 w 8067622"/>
              <a:gd name="connsiteY1" fmla="*/ 462926 h 7769334"/>
              <a:gd name="connsiteX2" fmla="*/ 6244541 w 8067622"/>
              <a:gd name="connsiteY2" fmla="*/ 454134 h 7769334"/>
              <a:gd name="connsiteX3" fmla="*/ 8007939 w 8067622"/>
              <a:gd name="connsiteY3" fmla="*/ 3768834 h 7769334"/>
              <a:gd name="connsiteX4" fmla="*/ 4007439 w 8067622"/>
              <a:gd name="connsiteY4" fmla="*/ 7769334 h 7769334"/>
              <a:gd name="connsiteX5" fmla="*/ 6939 w 8067622"/>
              <a:gd name="connsiteY5" fmla="*/ 3768834 h 7769334"/>
              <a:gd name="connsiteX0" fmla="*/ 6939 w 8010086"/>
              <a:gd name="connsiteY0" fmla="*/ 3768834 h 7984710"/>
              <a:gd name="connsiteX1" fmla="*/ 3339224 w 8010086"/>
              <a:gd name="connsiteY1" fmla="*/ 462926 h 7984710"/>
              <a:gd name="connsiteX2" fmla="*/ 6244541 w 8010086"/>
              <a:gd name="connsiteY2" fmla="*/ 454134 h 7984710"/>
              <a:gd name="connsiteX3" fmla="*/ 8007939 w 8010086"/>
              <a:gd name="connsiteY3" fmla="*/ 3768834 h 7984710"/>
              <a:gd name="connsiteX4" fmla="*/ 5892849 w 8010086"/>
              <a:gd name="connsiteY4" fmla="*/ 7057157 h 7984710"/>
              <a:gd name="connsiteX5" fmla="*/ 4007439 w 8010086"/>
              <a:gd name="connsiteY5" fmla="*/ 7769334 h 7984710"/>
              <a:gd name="connsiteX6" fmla="*/ 6939 w 8010086"/>
              <a:gd name="connsiteY6" fmla="*/ 3768834 h 7984710"/>
              <a:gd name="connsiteX0" fmla="*/ 6939 w 8010086"/>
              <a:gd name="connsiteY0" fmla="*/ 3768834 h 8061801"/>
              <a:gd name="connsiteX1" fmla="*/ 3339224 w 8010086"/>
              <a:gd name="connsiteY1" fmla="*/ 462926 h 8061801"/>
              <a:gd name="connsiteX2" fmla="*/ 6244541 w 8010086"/>
              <a:gd name="connsiteY2" fmla="*/ 454134 h 8061801"/>
              <a:gd name="connsiteX3" fmla="*/ 8007939 w 8010086"/>
              <a:gd name="connsiteY3" fmla="*/ 3768834 h 8061801"/>
              <a:gd name="connsiteX4" fmla="*/ 5892849 w 8010086"/>
              <a:gd name="connsiteY4" fmla="*/ 7312134 h 8061801"/>
              <a:gd name="connsiteX5" fmla="*/ 4007439 w 8010086"/>
              <a:gd name="connsiteY5" fmla="*/ 7769334 h 8061801"/>
              <a:gd name="connsiteX6" fmla="*/ 6939 w 8010086"/>
              <a:gd name="connsiteY6" fmla="*/ 3768834 h 8061801"/>
              <a:gd name="connsiteX0" fmla="*/ 6 w 8003153"/>
              <a:gd name="connsiteY0" fmla="*/ 3768834 h 7779879"/>
              <a:gd name="connsiteX1" fmla="*/ 3332291 w 8003153"/>
              <a:gd name="connsiteY1" fmla="*/ 462926 h 7779879"/>
              <a:gd name="connsiteX2" fmla="*/ 6237608 w 8003153"/>
              <a:gd name="connsiteY2" fmla="*/ 454134 h 7779879"/>
              <a:gd name="connsiteX3" fmla="*/ 8001006 w 8003153"/>
              <a:gd name="connsiteY3" fmla="*/ 3768834 h 7779879"/>
              <a:gd name="connsiteX4" fmla="*/ 5885916 w 8003153"/>
              <a:gd name="connsiteY4" fmla="*/ 7312134 h 7779879"/>
              <a:gd name="connsiteX5" fmla="*/ 3349875 w 8003153"/>
              <a:gd name="connsiteY5" fmla="*/ 7303342 h 7779879"/>
              <a:gd name="connsiteX6" fmla="*/ 6 w 8003153"/>
              <a:gd name="connsiteY6" fmla="*/ 3768834 h 7779879"/>
              <a:gd name="connsiteX0" fmla="*/ 3 w 8003150"/>
              <a:gd name="connsiteY0" fmla="*/ 3768834 h 7775751"/>
              <a:gd name="connsiteX1" fmla="*/ 3332288 w 8003150"/>
              <a:gd name="connsiteY1" fmla="*/ 462926 h 7775751"/>
              <a:gd name="connsiteX2" fmla="*/ 6237605 w 8003150"/>
              <a:gd name="connsiteY2" fmla="*/ 454134 h 7775751"/>
              <a:gd name="connsiteX3" fmla="*/ 8001003 w 8003150"/>
              <a:gd name="connsiteY3" fmla="*/ 3768834 h 7775751"/>
              <a:gd name="connsiteX4" fmla="*/ 5885913 w 8003150"/>
              <a:gd name="connsiteY4" fmla="*/ 7312134 h 7775751"/>
              <a:gd name="connsiteX5" fmla="*/ 3314702 w 8003150"/>
              <a:gd name="connsiteY5" fmla="*/ 7294550 h 7775751"/>
              <a:gd name="connsiteX6" fmla="*/ 3 w 8003150"/>
              <a:gd name="connsiteY6" fmla="*/ 3768834 h 77757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35777 h 7832403"/>
              <a:gd name="connsiteX1" fmla="*/ 664079 w 5334941"/>
              <a:gd name="connsiteY1" fmla="*/ 304153 h 7832403"/>
              <a:gd name="connsiteX2" fmla="*/ 3569396 w 5334941"/>
              <a:gd name="connsiteY2" fmla="*/ 295361 h 7832403"/>
              <a:gd name="connsiteX3" fmla="*/ 5332794 w 5334941"/>
              <a:gd name="connsiteY3" fmla="*/ 3610061 h 7832403"/>
              <a:gd name="connsiteX4" fmla="*/ 3217704 w 5334941"/>
              <a:gd name="connsiteY4" fmla="*/ 7153361 h 7832403"/>
              <a:gd name="connsiteX5" fmla="*/ 646493 w 5334941"/>
              <a:gd name="connsiteY5" fmla="*/ 7135777 h 7832403"/>
              <a:gd name="connsiteX0" fmla="*/ 182720 w 4871168"/>
              <a:gd name="connsiteY0" fmla="*/ 7135777 h 7832403"/>
              <a:gd name="connsiteX1" fmla="*/ 200306 w 4871168"/>
              <a:gd name="connsiteY1" fmla="*/ 304153 h 7832403"/>
              <a:gd name="connsiteX2" fmla="*/ 3105623 w 4871168"/>
              <a:gd name="connsiteY2" fmla="*/ 295361 h 7832403"/>
              <a:gd name="connsiteX3" fmla="*/ 4869021 w 4871168"/>
              <a:gd name="connsiteY3" fmla="*/ 3610061 h 7832403"/>
              <a:gd name="connsiteX4" fmla="*/ 2753931 w 4871168"/>
              <a:gd name="connsiteY4" fmla="*/ 7153361 h 7832403"/>
              <a:gd name="connsiteX5" fmla="*/ 182720 w 4871168"/>
              <a:gd name="connsiteY5" fmla="*/ 7135777 h 7832403"/>
              <a:gd name="connsiteX0" fmla="*/ 182720 w 4871168"/>
              <a:gd name="connsiteY0" fmla="*/ 7124471 h 7821097"/>
              <a:gd name="connsiteX1" fmla="*/ 200306 w 4871168"/>
              <a:gd name="connsiteY1" fmla="*/ 292847 h 7821097"/>
              <a:gd name="connsiteX2" fmla="*/ 3105623 w 4871168"/>
              <a:gd name="connsiteY2" fmla="*/ 284055 h 7821097"/>
              <a:gd name="connsiteX3" fmla="*/ 4869021 w 4871168"/>
              <a:gd name="connsiteY3" fmla="*/ 3598755 h 7821097"/>
              <a:gd name="connsiteX4" fmla="*/ 2753931 w 4871168"/>
              <a:gd name="connsiteY4" fmla="*/ 7142055 h 7821097"/>
              <a:gd name="connsiteX5" fmla="*/ 182720 w 4871168"/>
              <a:gd name="connsiteY5" fmla="*/ 7124471 h 7821097"/>
              <a:gd name="connsiteX0" fmla="*/ 182720 w 4871168"/>
              <a:gd name="connsiteY0" fmla="*/ 7133321 h 7829947"/>
              <a:gd name="connsiteX1" fmla="*/ 200306 w 4871168"/>
              <a:gd name="connsiteY1" fmla="*/ 301697 h 7829947"/>
              <a:gd name="connsiteX2" fmla="*/ 3105623 w 4871168"/>
              <a:gd name="connsiteY2" fmla="*/ 292905 h 7829947"/>
              <a:gd name="connsiteX3" fmla="*/ 4869021 w 4871168"/>
              <a:gd name="connsiteY3" fmla="*/ 3607605 h 7829947"/>
              <a:gd name="connsiteX4" fmla="*/ 2753931 w 4871168"/>
              <a:gd name="connsiteY4" fmla="*/ 7150905 h 7829947"/>
              <a:gd name="connsiteX5" fmla="*/ 182720 w 4871168"/>
              <a:gd name="connsiteY5" fmla="*/ 7133321 h 7829947"/>
              <a:gd name="connsiteX0" fmla="*/ 186720 w 4875168"/>
              <a:gd name="connsiteY0" fmla="*/ 7137599 h 7835370"/>
              <a:gd name="connsiteX1" fmla="*/ 191837 w 4875168"/>
              <a:gd name="connsiteY1" fmla="*/ 289350 h 7835370"/>
              <a:gd name="connsiteX2" fmla="*/ 3109623 w 4875168"/>
              <a:gd name="connsiteY2" fmla="*/ 297183 h 7835370"/>
              <a:gd name="connsiteX3" fmla="*/ 4873021 w 4875168"/>
              <a:gd name="connsiteY3" fmla="*/ 3611883 h 7835370"/>
              <a:gd name="connsiteX4" fmla="*/ 2757931 w 4875168"/>
              <a:gd name="connsiteY4" fmla="*/ 7155183 h 7835370"/>
              <a:gd name="connsiteX5" fmla="*/ 186720 w 4875168"/>
              <a:gd name="connsiteY5" fmla="*/ 7137599 h 7835370"/>
              <a:gd name="connsiteX0" fmla="*/ 171307 w 4859755"/>
              <a:gd name="connsiteY0" fmla="*/ 7112714 h 7803338"/>
              <a:gd name="connsiteX1" fmla="*/ 226300 w 4859755"/>
              <a:gd name="connsiteY1" fmla="*/ 368374 h 7803338"/>
              <a:gd name="connsiteX2" fmla="*/ 3094210 w 4859755"/>
              <a:gd name="connsiteY2" fmla="*/ 272298 h 7803338"/>
              <a:gd name="connsiteX3" fmla="*/ 4857608 w 4859755"/>
              <a:gd name="connsiteY3" fmla="*/ 3586998 h 7803338"/>
              <a:gd name="connsiteX4" fmla="*/ 2742518 w 4859755"/>
              <a:gd name="connsiteY4" fmla="*/ 7130298 h 7803338"/>
              <a:gd name="connsiteX5" fmla="*/ 171307 w 4859755"/>
              <a:gd name="connsiteY5" fmla="*/ 7112714 h 7803338"/>
              <a:gd name="connsiteX0" fmla="*/ 184041 w 4872489"/>
              <a:gd name="connsiteY0" fmla="*/ 7134379 h 7831291"/>
              <a:gd name="connsiteX1" fmla="*/ 197470 w 4872489"/>
              <a:gd name="connsiteY1" fmla="*/ 298599 h 7831291"/>
              <a:gd name="connsiteX2" fmla="*/ 3106944 w 4872489"/>
              <a:gd name="connsiteY2" fmla="*/ 293963 h 7831291"/>
              <a:gd name="connsiteX3" fmla="*/ 4870342 w 4872489"/>
              <a:gd name="connsiteY3" fmla="*/ 3608663 h 7831291"/>
              <a:gd name="connsiteX4" fmla="*/ 2755252 w 4872489"/>
              <a:gd name="connsiteY4" fmla="*/ 7151963 h 7831291"/>
              <a:gd name="connsiteX5" fmla="*/ 184041 w 4872489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9716 w 4868927"/>
              <a:gd name="connsiteY0" fmla="*/ 7152851 h 7842196"/>
              <a:gd name="connsiteX1" fmla="*/ 193908 w 4868927"/>
              <a:gd name="connsiteY1" fmla="*/ 298599 h 7842196"/>
              <a:gd name="connsiteX2" fmla="*/ 3103382 w 4868927"/>
              <a:gd name="connsiteY2" fmla="*/ 293963 h 7842196"/>
              <a:gd name="connsiteX3" fmla="*/ 4866780 w 4868927"/>
              <a:gd name="connsiteY3" fmla="*/ 3608663 h 7842196"/>
              <a:gd name="connsiteX4" fmla="*/ 2751690 w 4868927"/>
              <a:gd name="connsiteY4" fmla="*/ 7151963 h 7842196"/>
              <a:gd name="connsiteX5" fmla="*/ 189716 w 4868927"/>
              <a:gd name="connsiteY5" fmla="*/ 7152851 h 7842196"/>
              <a:gd name="connsiteX0" fmla="*/ 2 w 4679213"/>
              <a:gd name="connsiteY0" fmla="*/ 7152851 h 7447842"/>
              <a:gd name="connsiteX1" fmla="*/ 4194 w 4679213"/>
              <a:gd name="connsiteY1" fmla="*/ 298599 h 7447842"/>
              <a:gd name="connsiteX2" fmla="*/ 2913668 w 4679213"/>
              <a:gd name="connsiteY2" fmla="*/ 293963 h 7447842"/>
              <a:gd name="connsiteX3" fmla="*/ 4677066 w 4679213"/>
              <a:gd name="connsiteY3" fmla="*/ 3608663 h 7447842"/>
              <a:gd name="connsiteX4" fmla="*/ 2561976 w 4679213"/>
              <a:gd name="connsiteY4" fmla="*/ 7151963 h 7447842"/>
              <a:gd name="connsiteX5" fmla="*/ 2 w 4679213"/>
              <a:gd name="connsiteY5" fmla="*/ 7152851 h 7447842"/>
              <a:gd name="connsiteX0" fmla="*/ 232986 w 4675130"/>
              <a:gd name="connsiteY0" fmla="*/ 7082039 h 7430577"/>
              <a:gd name="connsiteX1" fmla="*/ 111 w 4675130"/>
              <a:gd name="connsiteY1" fmla="*/ 298599 h 7430577"/>
              <a:gd name="connsiteX2" fmla="*/ 2909585 w 4675130"/>
              <a:gd name="connsiteY2" fmla="*/ 293963 h 7430577"/>
              <a:gd name="connsiteX3" fmla="*/ 4672983 w 4675130"/>
              <a:gd name="connsiteY3" fmla="*/ 3608663 h 7430577"/>
              <a:gd name="connsiteX4" fmla="*/ 2557893 w 4675130"/>
              <a:gd name="connsiteY4" fmla="*/ 7151963 h 7430577"/>
              <a:gd name="connsiteX5" fmla="*/ 232986 w 4675130"/>
              <a:gd name="connsiteY5" fmla="*/ 7082039 h 7430577"/>
              <a:gd name="connsiteX0" fmla="*/ 1481 w 4677613"/>
              <a:gd name="connsiteY0" fmla="*/ 7149773 h 7447048"/>
              <a:gd name="connsiteX1" fmla="*/ 2594 w 4677613"/>
              <a:gd name="connsiteY1" fmla="*/ 298599 h 7447048"/>
              <a:gd name="connsiteX2" fmla="*/ 2912068 w 4677613"/>
              <a:gd name="connsiteY2" fmla="*/ 293963 h 7447048"/>
              <a:gd name="connsiteX3" fmla="*/ 4675466 w 4677613"/>
              <a:gd name="connsiteY3" fmla="*/ 3608663 h 7447048"/>
              <a:gd name="connsiteX4" fmla="*/ 2560376 w 4677613"/>
              <a:gd name="connsiteY4" fmla="*/ 7151963 h 7447048"/>
              <a:gd name="connsiteX5" fmla="*/ 1481 w 4677613"/>
              <a:gd name="connsiteY5" fmla="*/ 7149773 h 7447048"/>
              <a:gd name="connsiteX0" fmla="*/ 165734 w 4841866"/>
              <a:gd name="connsiteY0" fmla="*/ 7139154 h 7826771"/>
              <a:gd name="connsiteX1" fmla="*/ 246896 w 4841866"/>
              <a:gd name="connsiteY1" fmla="*/ 331083 h 7826771"/>
              <a:gd name="connsiteX2" fmla="*/ 3076321 w 4841866"/>
              <a:gd name="connsiteY2" fmla="*/ 283344 h 7826771"/>
              <a:gd name="connsiteX3" fmla="*/ 4839719 w 4841866"/>
              <a:gd name="connsiteY3" fmla="*/ 3598044 h 7826771"/>
              <a:gd name="connsiteX4" fmla="*/ 2724629 w 4841866"/>
              <a:gd name="connsiteY4" fmla="*/ 7141344 h 7826771"/>
              <a:gd name="connsiteX5" fmla="*/ 165734 w 4841866"/>
              <a:gd name="connsiteY5" fmla="*/ 7139154 h 7826771"/>
              <a:gd name="connsiteX0" fmla="*/ 192597 w 4868729"/>
              <a:gd name="connsiteY0" fmla="*/ 7111990 h 7790893"/>
              <a:gd name="connsiteX1" fmla="*/ 187553 w 4868729"/>
              <a:gd name="connsiteY1" fmla="*/ 430149 h 7790893"/>
              <a:gd name="connsiteX2" fmla="*/ 3103184 w 4868729"/>
              <a:gd name="connsiteY2" fmla="*/ 256180 h 7790893"/>
              <a:gd name="connsiteX3" fmla="*/ 4866582 w 4868729"/>
              <a:gd name="connsiteY3" fmla="*/ 3570880 h 7790893"/>
              <a:gd name="connsiteX4" fmla="*/ 2751492 w 4868729"/>
              <a:gd name="connsiteY4" fmla="*/ 7114180 h 7790893"/>
              <a:gd name="connsiteX5" fmla="*/ 192597 w 4868729"/>
              <a:gd name="connsiteY5" fmla="*/ 7111990 h 7790893"/>
              <a:gd name="connsiteX0" fmla="*/ 135176 w 4811308"/>
              <a:gd name="connsiteY0" fmla="*/ 7105556 h 7782125"/>
              <a:gd name="connsiteX1" fmla="*/ 336411 w 4811308"/>
              <a:gd name="connsiteY1" fmla="*/ 457582 h 7782125"/>
              <a:gd name="connsiteX2" fmla="*/ 3045763 w 4811308"/>
              <a:gd name="connsiteY2" fmla="*/ 249746 h 7782125"/>
              <a:gd name="connsiteX3" fmla="*/ 4809161 w 4811308"/>
              <a:gd name="connsiteY3" fmla="*/ 3564446 h 7782125"/>
              <a:gd name="connsiteX4" fmla="*/ 2694071 w 4811308"/>
              <a:gd name="connsiteY4" fmla="*/ 7107746 h 7782125"/>
              <a:gd name="connsiteX5" fmla="*/ 135176 w 4811308"/>
              <a:gd name="connsiteY5" fmla="*/ 7105556 h 7782125"/>
              <a:gd name="connsiteX0" fmla="*/ 157213 w 4833345"/>
              <a:gd name="connsiteY0" fmla="*/ 7115639 h 7795816"/>
              <a:gd name="connsiteX1" fmla="*/ 269163 w 4833345"/>
              <a:gd name="connsiteY1" fmla="*/ 415325 h 7795816"/>
              <a:gd name="connsiteX2" fmla="*/ 3067800 w 4833345"/>
              <a:gd name="connsiteY2" fmla="*/ 259829 h 7795816"/>
              <a:gd name="connsiteX3" fmla="*/ 4831198 w 4833345"/>
              <a:gd name="connsiteY3" fmla="*/ 3574529 h 7795816"/>
              <a:gd name="connsiteX4" fmla="*/ 2716108 w 4833345"/>
              <a:gd name="connsiteY4" fmla="*/ 7117829 h 7795816"/>
              <a:gd name="connsiteX5" fmla="*/ 157213 w 4833345"/>
              <a:gd name="connsiteY5" fmla="*/ 7115639 h 7795816"/>
              <a:gd name="connsiteX0" fmla="*/ 156353 w 4832485"/>
              <a:gd name="connsiteY0" fmla="*/ 7115639 h 7795816"/>
              <a:gd name="connsiteX1" fmla="*/ 268303 w 4832485"/>
              <a:gd name="connsiteY1" fmla="*/ 415325 h 7795816"/>
              <a:gd name="connsiteX2" fmla="*/ 3066940 w 4832485"/>
              <a:gd name="connsiteY2" fmla="*/ 259829 h 7795816"/>
              <a:gd name="connsiteX3" fmla="*/ 4830338 w 4832485"/>
              <a:gd name="connsiteY3" fmla="*/ 3574529 h 7795816"/>
              <a:gd name="connsiteX4" fmla="*/ 2715248 w 4832485"/>
              <a:gd name="connsiteY4" fmla="*/ 7117829 h 7795816"/>
              <a:gd name="connsiteX5" fmla="*/ 156353 w 4832485"/>
              <a:gd name="connsiteY5" fmla="*/ 7115639 h 7795816"/>
              <a:gd name="connsiteX0" fmla="*/ 162218 w 4838350"/>
              <a:gd name="connsiteY0" fmla="*/ 7153758 h 7845421"/>
              <a:gd name="connsiteX1" fmla="*/ 252617 w 4838350"/>
              <a:gd name="connsiteY1" fmla="*/ 287189 h 7845421"/>
              <a:gd name="connsiteX2" fmla="*/ 3072805 w 4838350"/>
              <a:gd name="connsiteY2" fmla="*/ 297948 h 7845421"/>
              <a:gd name="connsiteX3" fmla="*/ 4836203 w 4838350"/>
              <a:gd name="connsiteY3" fmla="*/ 3612648 h 7845421"/>
              <a:gd name="connsiteX4" fmla="*/ 2721113 w 4838350"/>
              <a:gd name="connsiteY4" fmla="*/ 7155948 h 7845421"/>
              <a:gd name="connsiteX5" fmla="*/ 162218 w 4838350"/>
              <a:gd name="connsiteY5" fmla="*/ 7153758 h 7845421"/>
              <a:gd name="connsiteX0" fmla="*/ 162218 w 4838350"/>
              <a:gd name="connsiteY0" fmla="*/ 7127231 h 7811232"/>
              <a:gd name="connsiteX1" fmla="*/ 252617 w 4838350"/>
              <a:gd name="connsiteY1" fmla="*/ 371498 h 7811232"/>
              <a:gd name="connsiteX2" fmla="*/ 3072805 w 4838350"/>
              <a:gd name="connsiteY2" fmla="*/ 271421 h 7811232"/>
              <a:gd name="connsiteX3" fmla="*/ 4836203 w 4838350"/>
              <a:gd name="connsiteY3" fmla="*/ 3586121 h 7811232"/>
              <a:gd name="connsiteX4" fmla="*/ 2721113 w 4838350"/>
              <a:gd name="connsiteY4" fmla="*/ 7129421 h 7811232"/>
              <a:gd name="connsiteX5" fmla="*/ 162218 w 4838350"/>
              <a:gd name="connsiteY5" fmla="*/ 7127231 h 7811232"/>
              <a:gd name="connsiteX0" fmla="*/ 169100 w 4845232"/>
              <a:gd name="connsiteY0" fmla="*/ 7127237 h 7811238"/>
              <a:gd name="connsiteX1" fmla="*/ 259499 w 4845232"/>
              <a:gd name="connsiteY1" fmla="*/ 371504 h 7811238"/>
              <a:gd name="connsiteX2" fmla="*/ 3079687 w 4845232"/>
              <a:gd name="connsiteY2" fmla="*/ 271427 h 7811238"/>
              <a:gd name="connsiteX3" fmla="*/ 4843085 w 4845232"/>
              <a:gd name="connsiteY3" fmla="*/ 3586127 h 7811238"/>
              <a:gd name="connsiteX4" fmla="*/ 2727995 w 4845232"/>
              <a:gd name="connsiteY4" fmla="*/ 7129427 h 7811238"/>
              <a:gd name="connsiteX5" fmla="*/ 169100 w 4845232"/>
              <a:gd name="connsiteY5" fmla="*/ 7127237 h 7811238"/>
              <a:gd name="connsiteX0" fmla="*/ 219843 w 4895975"/>
              <a:gd name="connsiteY0" fmla="*/ 7118137 h 7799163"/>
              <a:gd name="connsiteX1" fmla="*/ 162460 w 4895975"/>
              <a:gd name="connsiteY1" fmla="*/ 405507 h 7799163"/>
              <a:gd name="connsiteX2" fmla="*/ 3130430 w 4895975"/>
              <a:gd name="connsiteY2" fmla="*/ 262327 h 7799163"/>
              <a:gd name="connsiteX3" fmla="*/ 4893828 w 4895975"/>
              <a:gd name="connsiteY3" fmla="*/ 3577027 h 7799163"/>
              <a:gd name="connsiteX4" fmla="*/ 2778738 w 4895975"/>
              <a:gd name="connsiteY4" fmla="*/ 7120327 h 7799163"/>
              <a:gd name="connsiteX5" fmla="*/ 219843 w 4895975"/>
              <a:gd name="connsiteY5" fmla="*/ 7118137 h 7799163"/>
              <a:gd name="connsiteX0" fmla="*/ 202277 w 4878409"/>
              <a:gd name="connsiteY0" fmla="*/ 7113808 h 7793348"/>
              <a:gd name="connsiteX1" fmla="*/ 191076 w 4878409"/>
              <a:gd name="connsiteY1" fmla="*/ 422730 h 7793348"/>
              <a:gd name="connsiteX2" fmla="*/ 3112864 w 4878409"/>
              <a:gd name="connsiteY2" fmla="*/ 257998 h 7793348"/>
              <a:gd name="connsiteX3" fmla="*/ 4876262 w 4878409"/>
              <a:gd name="connsiteY3" fmla="*/ 3572698 h 7793348"/>
              <a:gd name="connsiteX4" fmla="*/ 2761172 w 4878409"/>
              <a:gd name="connsiteY4" fmla="*/ 7115998 h 7793348"/>
              <a:gd name="connsiteX5" fmla="*/ 202277 w 4878409"/>
              <a:gd name="connsiteY5" fmla="*/ 7113808 h 7793348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85583 w 4761715"/>
              <a:gd name="connsiteY0" fmla="*/ 7107672 h 7785019"/>
              <a:gd name="connsiteX1" fmla="*/ 82333 w 4761715"/>
              <a:gd name="connsiteY1" fmla="*/ 448399 h 7785019"/>
              <a:gd name="connsiteX2" fmla="*/ 2996170 w 4761715"/>
              <a:gd name="connsiteY2" fmla="*/ 251862 h 7785019"/>
              <a:gd name="connsiteX3" fmla="*/ 4759568 w 4761715"/>
              <a:gd name="connsiteY3" fmla="*/ 3566562 h 7785019"/>
              <a:gd name="connsiteX4" fmla="*/ 2644478 w 4761715"/>
              <a:gd name="connsiteY4" fmla="*/ 7109862 h 7785019"/>
              <a:gd name="connsiteX5" fmla="*/ 85583 w 4761715"/>
              <a:gd name="connsiteY5" fmla="*/ 7107672 h 7785019"/>
              <a:gd name="connsiteX0" fmla="*/ 85583 w 4761715"/>
              <a:gd name="connsiteY0" fmla="*/ 7074631 h 7751978"/>
              <a:gd name="connsiteX1" fmla="*/ 82333 w 4761715"/>
              <a:gd name="connsiteY1" fmla="*/ 415358 h 7751978"/>
              <a:gd name="connsiteX2" fmla="*/ 2996170 w 4761715"/>
              <a:gd name="connsiteY2" fmla="*/ 218821 h 7751978"/>
              <a:gd name="connsiteX3" fmla="*/ 4759568 w 4761715"/>
              <a:gd name="connsiteY3" fmla="*/ 3533521 h 7751978"/>
              <a:gd name="connsiteX4" fmla="*/ 2644478 w 4761715"/>
              <a:gd name="connsiteY4" fmla="*/ 7076821 h 7751978"/>
              <a:gd name="connsiteX5" fmla="*/ 85583 w 4761715"/>
              <a:gd name="connsiteY5" fmla="*/ 7074631 h 7751978"/>
              <a:gd name="connsiteX0" fmla="*/ 157610 w 4833742"/>
              <a:gd name="connsiteY0" fmla="*/ 7074631 h 7751978"/>
              <a:gd name="connsiteX1" fmla="*/ 154360 w 4833742"/>
              <a:gd name="connsiteY1" fmla="*/ 415358 h 7751978"/>
              <a:gd name="connsiteX2" fmla="*/ 3068197 w 4833742"/>
              <a:gd name="connsiteY2" fmla="*/ 218821 h 7751978"/>
              <a:gd name="connsiteX3" fmla="*/ 4831595 w 4833742"/>
              <a:gd name="connsiteY3" fmla="*/ 3533521 h 7751978"/>
              <a:gd name="connsiteX4" fmla="*/ 2716505 w 4833742"/>
              <a:gd name="connsiteY4" fmla="*/ 7076821 h 7751978"/>
              <a:gd name="connsiteX5" fmla="*/ 157610 w 4833742"/>
              <a:gd name="connsiteY5" fmla="*/ 7074631 h 7751978"/>
              <a:gd name="connsiteX0" fmla="*/ 345911 w 5022043"/>
              <a:gd name="connsiteY0" fmla="*/ 7098958 h 7776305"/>
              <a:gd name="connsiteX1" fmla="*/ 342661 w 5022043"/>
              <a:gd name="connsiteY1" fmla="*/ 439685 h 7776305"/>
              <a:gd name="connsiteX2" fmla="*/ 3256498 w 5022043"/>
              <a:gd name="connsiteY2" fmla="*/ 243148 h 7776305"/>
              <a:gd name="connsiteX3" fmla="*/ 5019896 w 5022043"/>
              <a:gd name="connsiteY3" fmla="*/ 3557848 h 7776305"/>
              <a:gd name="connsiteX4" fmla="*/ 2904806 w 5022043"/>
              <a:gd name="connsiteY4" fmla="*/ 7101148 h 7776305"/>
              <a:gd name="connsiteX5" fmla="*/ 345911 w 5022043"/>
              <a:gd name="connsiteY5" fmla="*/ 7098958 h 7776305"/>
              <a:gd name="connsiteX0" fmla="*/ 190117 w 4866249"/>
              <a:gd name="connsiteY0" fmla="*/ 7193225 h 7870572"/>
              <a:gd name="connsiteX1" fmla="*/ 186867 w 4866249"/>
              <a:gd name="connsiteY1" fmla="*/ 533952 h 7870572"/>
              <a:gd name="connsiteX2" fmla="*/ 3100704 w 4866249"/>
              <a:gd name="connsiteY2" fmla="*/ 337415 h 7870572"/>
              <a:gd name="connsiteX3" fmla="*/ 4864102 w 4866249"/>
              <a:gd name="connsiteY3" fmla="*/ 3652115 h 7870572"/>
              <a:gd name="connsiteX4" fmla="*/ 2749012 w 4866249"/>
              <a:gd name="connsiteY4" fmla="*/ 7195415 h 7870572"/>
              <a:gd name="connsiteX5" fmla="*/ 190117 w 4866249"/>
              <a:gd name="connsiteY5" fmla="*/ 7193225 h 7870572"/>
              <a:gd name="connsiteX0" fmla="*/ 188894 w 4865026"/>
              <a:gd name="connsiteY0" fmla="*/ 7274677 h 7967496"/>
              <a:gd name="connsiteX1" fmla="*/ 189317 w 4865026"/>
              <a:gd name="connsiteY1" fmla="*/ 391394 h 7967496"/>
              <a:gd name="connsiteX2" fmla="*/ 3099481 w 4865026"/>
              <a:gd name="connsiteY2" fmla="*/ 418867 h 7967496"/>
              <a:gd name="connsiteX3" fmla="*/ 4862879 w 4865026"/>
              <a:gd name="connsiteY3" fmla="*/ 3733567 h 7967496"/>
              <a:gd name="connsiteX4" fmla="*/ 2747789 w 4865026"/>
              <a:gd name="connsiteY4" fmla="*/ 7276867 h 7967496"/>
              <a:gd name="connsiteX5" fmla="*/ 188894 w 4865026"/>
              <a:gd name="connsiteY5" fmla="*/ 7274677 h 7967496"/>
              <a:gd name="connsiteX0" fmla="*/ 192591 w 4868723"/>
              <a:gd name="connsiteY0" fmla="*/ 7277850 h 7971178"/>
              <a:gd name="connsiteX1" fmla="*/ 181997 w 4868723"/>
              <a:gd name="connsiteY1" fmla="*/ 387222 h 7971178"/>
              <a:gd name="connsiteX2" fmla="*/ 3103178 w 4868723"/>
              <a:gd name="connsiteY2" fmla="*/ 422040 h 7971178"/>
              <a:gd name="connsiteX3" fmla="*/ 4866576 w 4868723"/>
              <a:gd name="connsiteY3" fmla="*/ 3736740 h 7971178"/>
              <a:gd name="connsiteX4" fmla="*/ 2751486 w 4868723"/>
              <a:gd name="connsiteY4" fmla="*/ 7280040 h 7971178"/>
              <a:gd name="connsiteX5" fmla="*/ 192591 w 4868723"/>
              <a:gd name="connsiteY5" fmla="*/ 7277850 h 7971178"/>
              <a:gd name="connsiteX0" fmla="*/ 193427 w 4869559"/>
              <a:gd name="connsiteY0" fmla="*/ 7163116 h 7856444"/>
              <a:gd name="connsiteX1" fmla="*/ 182833 w 4869559"/>
              <a:gd name="connsiteY1" fmla="*/ 272488 h 7856444"/>
              <a:gd name="connsiteX2" fmla="*/ 3104014 w 4869559"/>
              <a:gd name="connsiteY2" fmla="*/ 307306 h 7856444"/>
              <a:gd name="connsiteX3" fmla="*/ 4867412 w 4869559"/>
              <a:gd name="connsiteY3" fmla="*/ 3622006 h 7856444"/>
              <a:gd name="connsiteX4" fmla="*/ 2752322 w 4869559"/>
              <a:gd name="connsiteY4" fmla="*/ 7165306 h 7856444"/>
              <a:gd name="connsiteX5" fmla="*/ 193427 w 4869559"/>
              <a:gd name="connsiteY5" fmla="*/ 7163116 h 7856444"/>
              <a:gd name="connsiteX0" fmla="*/ 170155 w 4846287"/>
              <a:gd name="connsiteY0" fmla="*/ 7143047 h 7831040"/>
              <a:gd name="connsiteX1" fmla="*/ 233007 w 4846287"/>
              <a:gd name="connsiteY1" fmla="*/ 329537 h 7831040"/>
              <a:gd name="connsiteX2" fmla="*/ 3080742 w 4846287"/>
              <a:gd name="connsiteY2" fmla="*/ 287237 h 7831040"/>
              <a:gd name="connsiteX3" fmla="*/ 4844140 w 4846287"/>
              <a:gd name="connsiteY3" fmla="*/ 3601937 h 7831040"/>
              <a:gd name="connsiteX4" fmla="*/ 2729050 w 4846287"/>
              <a:gd name="connsiteY4" fmla="*/ 7145237 h 7831040"/>
              <a:gd name="connsiteX5" fmla="*/ 170155 w 4846287"/>
              <a:gd name="connsiteY5" fmla="*/ 7143047 h 7831040"/>
              <a:gd name="connsiteX0" fmla="*/ 188486 w 4864618"/>
              <a:gd name="connsiteY0" fmla="*/ 7162098 h 7855172"/>
              <a:gd name="connsiteX1" fmla="*/ 192581 w 4864618"/>
              <a:gd name="connsiteY1" fmla="*/ 275143 h 7855172"/>
              <a:gd name="connsiteX2" fmla="*/ 3099073 w 4864618"/>
              <a:gd name="connsiteY2" fmla="*/ 306288 h 7855172"/>
              <a:gd name="connsiteX3" fmla="*/ 4862471 w 4864618"/>
              <a:gd name="connsiteY3" fmla="*/ 3620988 h 7855172"/>
              <a:gd name="connsiteX4" fmla="*/ 2747381 w 4864618"/>
              <a:gd name="connsiteY4" fmla="*/ 7164288 h 7855172"/>
              <a:gd name="connsiteX5" fmla="*/ 188486 w 4864618"/>
              <a:gd name="connsiteY5" fmla="*/ 7162098 h 785517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181559 h 7874633"/>
              <a:gd name="connsiteX1" fmla="*/ 344138 w 5016181"/>
              <a:gd name="connsiteY1" fmla="*/ 294604 h 7874633"/>
              <a:gd name="connsiteX2" fmla="*/ 3254303 w 5016181"/>
              <a:gd name="connsiteY2" fmla="*/ 296371 h 7874633"/>
              <a:gd name="connsiteX3" fmla="*/ 5014028 w 5016181"/>
              <a:gd name="connsiteY3" fmla="*/ 3640449 h 7874633"/>
              <a:gd name="connsiteX4" fmla="*/ 2898938 w 5016181"/>
              <a:gd name="connsiteY4" fmla="*/ 7183749 h 7874633"/>
              <a:gd name="connsiteX5" fmla="*/ 340043 w 5016181"/>
              <a:gd name="connsiteY5" fmla="*/ 7181559 h 7874633"/>
              <a:gd name="connsiteX0" fmla="*/ 340043 w 5016181"/>
              <a:gd name="connsiteY0" fmla="*/ 7183197 h 7876271"/>
              <a:gd name="connsiteX1" fmla="*/ 344138 w 5016181"/>
              <a:gd name="connsiteY1" fmla="*/ 296242 h 7876271"/>
              <a:gd name="connsiteX2" fmla="*/ 3254303 w 5016181"/>
              <a:gd name="connsiteY2" fmla="*/ 298009 h 7876271"/>
              <a:gd name="connsiteX3" fmla="*/ 5014028 w 5016181"/>
              <a:gd name="connsiteY3" fmla="*/ 3642087 h 7876271"/>
              <a:gd name="connsiteX4" fmla="*/ 2898938 w 5016181"/>
              <a:gd name="connsiteY4" fmla="*/ 7185387 h 7876271"/>
              <a:gd name="connsiteX5" fmla="*/ 340043 w 5016181"/>
              <a:gd name="connsiteY5" fmla="*/ 7183197 h 7876271"/>
              <a:gd name="connsiteX0" fmla="*/ 340043 w 5016181"/>
              <a:gd name="connsiteY0" fmla="*/ 7184031 h 7877324"/>
              <a:gd name="connsiteX1" fmla="*/ 344138 w 5016181"/>
              <a:gd name="connsiteY1" fmla="*/ 293901 h 7877324"/>
              <a:gd name="connsiteX2" fmla="*/ 3254303 w 5016181"/>
              <a:gd name="connsiteY2" fmla="*/ 298843 h 7877324"/>
              <a:gd name="connsiteX3" fmla="*/ 5014028 w 5016181"/>
              <a:gd name="connsiteY3" fmla="*/ 3642921 h 7877324"/>
              <a:gd name="connsiteX4" fmla="*/ 2898938 w 5016181"/>
              <a:gd name="connsiteY4" fmla="*/ 7186221 h 7877324"/>
              <a:gd name="connsiteX5" fmla="*/ 340043 w 5016181"/>
              <a:gd name="connsiteY5" fmla="*/ 7184031 h 7877324"/>
              <a:gd name="connsiteX0" fmla="*/ 338200 w 5014338"/>
              <a:gd name="connsiteY0" fmla="*/ 7184031 h 7877324"/>
              <a:gd name="connsiteX1" fmla="*/ 345470 w 5014338"/>
              <a:gd name="connsiteY1" fmla="*/ 293901 h 7877324"/>
              <a:gd name="connsiteX2" fmla="*/ 3252460 w 5014338"/>
              <a:gd name="connsiteY2" fmla="*/ 298843 h 7877324"/>
              <a:gd name="connsiteX3" fmla="*/ 5012185 w 5014338"/>
              <a:gd name="connsiteY3" fmla="*/ 3642921 h 7877324"/>
              <a:gd name="connsiteX4" fmla="*/ 2897095 w 5014338"/>
              <a:gd name="connsiteY4" fmla="*/ 7186221 h 7877324"/>
              <a:gd name="connsiteX5" fmla="*/ 338200 w 5014338"/>
              <a:gd name="connsiteY5" fmla="*/ 7184031 h 7877324"/>
              <a:gd name="connsiteX0" fmla="*/ 338200 w 5014338"/>
              <a:gd name="connsiteY0" fmla="*/ 7183318 h 7876611"/>
              <a:gd name="connsiteX1" fmla="*/ 345470 w 5014338"/>
              <a:gd name="connsiteY1" fmla="*/ 293188 h 7876611"/>
              <a:gd name="connsiteX2" fmla="*/ 3252460 w 5014338"/>
              <a:gd name="connsiteY2" fmla="*/ 298130 h 7876611"/>
              <a:gd name="connsiteX3" fmla="*/ 5012185 w 5014338"/>
              <a:gd name="connsiteY3" fmla="*/ 3642208 h 7876611"/>
              <a:gd name="connsiteX4" fmla="*/ 2897095 w 5014338"/>
              <a:gd name="connsiteY4" fmla="*/ 7185508 h 7876611"/>
              <a:gd name="connsiteX5" fmla="*/ 338200 w 5014338"/>
              <a:gd name="connsiteY5" fmla="*/ 7183318 h 7876611"/>
              <a:gd name="connsiteX0" fmla="*/ 189227 w 4865365"/>
              <a:gd name="connsiteY0" fmla="*/ 7183318 h 7876611"/>
              <a:gd name="connsiteX1" fmla="*/ 196497 w 4865365"/>
              <a:gd name="connsiteY1" fmla="*/ 293188 h 7876611"/>
              <a:gd name="connsiteX2" fmla="*/ 3103487 w 4865365"/>
              <a:gd name="connsiteY2" fmla="*/ 298130 h 7876611"/>
              <a:gd name="connsiteX3" fmla="*/ 4863212 w 4865365"/>
              <a:gd name="connsiteY3" fmla="*/ 3642208 h 7876611"/>
              <a:gd name="connsiteX4" fmla="*/ 2748122 w 4865365"/>
              <a:gd name="connsiteY4" fmla="*/ 7185508 h 7876611"/>
              <a:gd name="connsiteX5" fmla="*/ 189227 w 4865365"/>
              <a:gd name="connsiteY5" fmla="*/ 7183318 h 7876611"/>
              <a:gd name="connsiteX0" fmla="*/ 192432 w 4868570"/>
              <a:gd name="connsiteY0" fmla="*/ 7183318 h 7876611"/>
              <a:gd name="connsiteX1" fmla="*/ 190177 w 4868570"/>
              <a:gd name="connsiteY1" fmla="*/ 293188 h 7876611"/>
              <a:gd name="connsiteX2" fmla="*/ 3106692 w 4868570"/>
              <a:gd name="connsiteY2" fmla="*/ 298130 h 7876611"/>
              <a:gd name="connsiteX3" fmla="*/ 4866417 w 4868570"/>
              <a:gd name="connsiteY3" fmla="*/ 3642208 h 7876611"/>
              <a:gd name="connsiteX4" fmla="*/ 2751327 w 4868570"/>
              <a:gd name="connsiteY4" fmla="*/ 7185508 h 7876611"/>
              <a:gd name="connsiteX5" fmla="*/ 192432 w 4868570"/>
              <a:gd name="connsiteY5" fmla="*/ 7183318 h 7876611"/>
              <a:gd name="connsiteX0" fmla="*/ 190287 w 4866425"/>
              <a:gd name="connsiteY0" fmla="*/ 7183318 h 7876611"/>
              <a:gd name="connsiteX1" fmla="*/ 188032 w 4866425"/>
              <a:gd name="connsiteY1" fmla="*/ 293188 h 7876611"/>
              <a:gd name="connsiteX2" fmla="*/ 3104547 w 4866425"/>
              <a:gd name="connsiteY2" fmla="*/ 298130 h 7876611"/>
              <a:gd name="connsiteX3" fmla="*/ 4864272 w 4866425"/>
              <a:gd name="connsiteY3" fmla="*/ 3642208 h 7876611"/>
              <a:gd name="connsiteX4" fmla="*/ 2749182 w 4866425"/>
              <a:gd name="connsiteY4" fmla="*/ 7185508 h 7876611"/>
              <a:gd name="connsiteX5" fmla="*/ 190287 w 4866425"/>
              <a:gd name="connsiteY5" fmla="*/ 7183318 h 7876611"/>
              <a:gd name="connsiteX0" fmla="*/ 190287 w 4866425"/>
              <a:gd name="connsiteY0" fmla="*/ 7154743 h 7859802"/>
              <a:gd name="connsiteX1" fmla="*/ 188032 w 4866425"/>
              <a:gd name="connsiteY1" fmla="*/ 293188 h 7859802"/>
              <a:gd name="connsiteX2" fmla="*/ 3104547 w 4866425"/>
              <a:gd name="connsiteY2" fmla="*/ 298130 h 7859802"/>
              <a:gd name="connsiteX3" fmla="*/ 4864272 w 4866425"/>
              <a:gd name="connsiteY3" fmla="*/ 3642208 h 7859802"/>
              <a:gd name="connsiteX4" fmla="*/ 2749182 w 4866425"/>
              <a:gd name="connsiteY4" fmla="*/ 7185508 h 7859802"/>
              <a:gd name="connsiteX5" fmla="*/ 190287 w 4866425"/>
              <a:gd name="connsiteY5" fmla="*/ 7154743 h 7859802"/>
              <a:gd name="connsiteX0" fmla="*/ 2255 w 4678393"/>
              <a:gd name="connsiteY0" fmla="*/ 7154743 h 7872894"/>
              <a:gd name="connsiteX1" fmla="*/ 0 w 4678393"/>
              <a:gd name="connsiteY1" fmla="*/ 293188 h 7872894"/>
              <a:gd name="connsiteX2" fmla="*/ 2916515 w 4678393"/>
              <a:gd name="connsiteY2" fmla="*/ 298130 h 7872894"/>
              <a:gd name="connsiteX3" fmla="*/ 4676240 w 4678393"/>
              <a:gd name="connsiteY3" fmla="*/ 3642208 h 7872894"/>
              <a:gd name="connsiteX4" fmla="*/ 2561150 w 4678393"/>
              <a:gd name="connsiteY4" fmla="*/ 7185508 h 7872894"/>
              <a:gd name="connsiteX5" fmla="*/ 2255 w 4678393"/>
              <a:gd name="connsiteY5" fmla="*/ 7154743 h 7872894"/>
              <a:gd name="connsiteX0" fmla="*/ 2822 w 4678960"/>
              <a:gd name="connsiteY0" fmla="*/ 7154743 h 7874206"/>
              <a:gd name="connsiteX1" fmla="*/ 567 w 4678960"/>
              <a:gd name="connsiteY1" fmla="*/ 293188 h 7874206"/>
              <a:gd name="connsiteX2" fmla="*/ 2917082 w 4678960"/>
              <a:gd name="connsiteY2" fmla="*/ 298130 h 7874206"/>
              <a:gd name="connsiteX3" fmla="*/ 4676807 w 4678960"/>
              <a:gd name="connsiteY3" fmla="*/ 3642208 h 7874206"/>
              <a:gd name="connsiteX4" fmla="*/ 2561717 w 4678960"/>
              <a:gd name="connsiteY4" fmla="*/ 7185508 h 7874206"/>
              <a:gd name="connsiteX5" fmla="*/ 2822 w 4678960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473936"/>
              <a:gd name="connsiteX1" fmla="*/ 0 w 4678393"/>
              <a:gd name="connsiteY1" fmla="*/ 293188 h 7473936"/>
              <a:gd name="connsiteX2" fmla="*/ 2916515 w 4678393"/>
              <a:gd name="connsiteY2" fmla="*/ 298130 h 7473936"/>
              <a:gd name="connsiteX3" fmla="*/ 4676240 w 4678393"/>
              <a:gd name="connsiteY3" fmla="*/ 3642208 h 7473936"/>
              <a:gd name="connsiteX4" fmla="*/ 2561150 w 4678393"/>
              <a:gd name="connsiteY4" fmla="*/ 7185508 h 7473936"/>
              <a:gd name="connsiteX5" fmla="*/ 2255 w 4678393"/>
              <a:gd name="connsiteY5" fmla="*/ 7154743 h 7473936"/>
              <a:gd name="connsiteX0" fmla="*/ 2255 w 4678393"/>
              <a:gd name="connsiteY0" fmla="*/ 7154743 h 7450206"/>
              <a:gd name="connsiteX1" fmla="*/ 0 w 4678393"/>
              <a:gd name="connsiteY1" fmla="*/ 293188 h 7450206"/>
              <a:gd name="connsiteX2" fmla="*/ 2916515 w 4678393"/>
              <a:gd name="connsiteY2" fmla="*/ 298130 h 7450206"/>
              <a:gd name="connsiteX3" fmla="*/ 4676240 w 4678393"/>
              <a:gd name="connsiteY3" fmla="*/ 3642208 h 7450206"/>
              <a:gd name="connsiteX4" fmla="*/ 2564325 w 4678393"/>
              <a:gd name="connsiteY4" fmla="*/ 7153758 h 7450206"/>
              <a:gd name="connsiteX5" fmla="*/ 2255 w 4678393"/>
              <a:gd name="connsiteY5" fmla="*/ 7154743 h 7450206"/>
              <a:gd name="connsiteX0" fmla="*/ 2255 w 4678393"/>
              <a:gd name="connsiteY0" fmla="*/ 7154743 h 7154743"/>
              <a:gd name="connsiteX1" fmla="*/ 0 w 4678393"/>
              <a:gd name="connsiteY1" fmla="*/ 293188 h 7154743"/>
              <a:gd name="connsiteX2" fmla="*/ 2916515 w 4678393"/>
              <a:gd name="connsiteY2" fmla="*/ 298130 h 7154743"/>
              <a:gd name="connsiteX3" fmla="*/ 4676240 w 4678393"/>
              <a:gd name="connsiteY3" fmla="*/ 3642208 h 7154743"/>
              <a:gd name="connsiteX4" fmla="*/ 2564325 w 4678393"/>
              <a:gd name="connsiteY4" fmla="*/ 7153758 h 7154743"/>
              <a:gd name="connsiteX5" fmla="*/ 2255 w 4678393"/>
              <a:gd name="connsiteY5" fmla="*/ 7154743 h 7154743"/>
              <a:gd name="connsiteX0" fmla="*/ 2255 w 4678393"/>
              <a:gd name="connsiteY0" fmla="*/ 6861555 h 6861555"/>
              <a:gd name="connsiteX1" fmla="*/ 0 w 4678393"/>
              <a:gd name="connsiteY1" fmla="*/ 0 h 6861555"/>
              <a:gd name="connsiteX2" fmla="*/ 2916515 w 4678393"/>
              <a:gd name="connsiteY2" fmla="*/ 4942 h 6861555"/>
              <a:gd name="connsiteX3" fmla="*/ 4676240 w 4678393"/>
              <a:gd name="connsiteY3" fmla="*/ 3349020 h 6861555"/>
              <a:gd name="connsiteX4" fmla="*/ 2564325 w 4678393"/>
              <a:gd name="connsiteY4" fmla="*/ 6860570 h 6861555"/>
              <a:gd name="connsiteX5" fmla="*/ 2255 w 4678393"/>
              <a:gd name="connsiteY5" fmla="*/ 6861555 h 6861555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9009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8377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3061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71578"/>
              <a:gd name="connsiteX1" fmla="*/ 0 w 4678399"/>
              <a:gd name="connsiteY1" fmla="*/ 1408 h 6871578"/>
              <a:gd name="connsiteX2" fmla="*/ 2919690 w 4678399"/>
              <a:gd name="connsiteY2" fmla="*/ 0 h 6871578"/>
              <a:gd name="connsiteX3" fmla="*/ 4676240 w 4678399"/>
              <a:gd name="connsiteY3" fmla="*/ 3350428 h 6871578"/>
              <a:gd name="connsiteX4" fmla="*/ 2521796 w 4678399"/>
              <a:gd name="connsiteY4" fmla="*/ 6871578 h 6871578"/>
              <a:gd name="connsiteX5" fmla="*/ 2255 w 4678399"/>
              <a:gd name="connsiteY5" fmla="*/ 6862963 h 6871578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6240" h="6862963">
                <a:moveTo>
                  <a:pt x="2255" y="6862963"/>
                </a:moveTo>
                <a:cubicBezTo>
                  <a:pt x="847" y="5679318"/>
                  <a:pt x="65" y="1117189"/>
                  <a:pt x="0" y="1408"/>
                </a:cubicBezTo>
                <a:lnTo>
                  <a:pt x="2919690" y="0"/>
                </a:lnTo>
                <a:cubicBezTo>
                  <a:pt x="3347209" y="321191"/>
                  <a:pt x="4644479" y="1245147"/>
                  <a:pt x="4676240" y="3350428"/>
                </a:cubicBezTo>
                <a:cubicBezTo>
                  <a:pt x="4625578" y="5097946"/>
                  <a:pt x="3667890" y="6255680"/>
                  <a:pt x="2516480" y="6860945"/>
                </a:cubicBezTo>
                <a:lnTo>
                  <a:pt x="2255" y="6862963"/>
                </a:lnTo>
                <a:close/>
              </a:path>
            </a:pathLst>
          </a:custGeom>
          <a:ln>
            <a:noFill/>
          </a:ln>
          <a:extLst>
            <a:ext uri="{91240B29-F687-4f45-9708-019B960494DF}"/>
          </a:extLst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37228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735812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3" descr="white_dots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37585" y="3175"/>
            <a:ext cx="11049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32"/>
          <p:cNvSpPr>
            <a:spLocks noGrp="1"/>
          </p:cNvSpPr>
          <p:nvPr>
            <p:ph type="title"/>
          </p:nvPr>
        </p:nvSpPr>
        <p:spPr>
          <a:xfrm>
            <a:off x="1972733" y="2152650"/>
            <a:ext cx="9558867" cy="2552700"/>
          </a:xfrm>
          <a:prstGeom prst="rect">
            <a:avLst/>
          </a:prstGeom>
        </p:spPr>
        <p:txBody>
          <a:bodyPr vert="horz" anchor="ctr"/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31871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5868DF8-0066-C04C-B523-8450D0A451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533600"/>
            <a:ext cx="560134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D81E9A-BFAC-2649-8EA2-1E71B0607B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2174400"/>
            <a:ext cx="5601346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AB4DA10-386C-0E45-8192-A2D9EB1279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9322" y="1534150"/>
            <a:ext cx="5611678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BA2A10C-A80A-324D-B7BC-4A1C81054B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9322" y="2174950"/>
            <a:ext cx="5611678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9610272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381000" y="1533600"/>
            <a:ext cx="4590288" cy="4593600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12178272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81000" y="1601788"/>
            <a:ext cx="11430000" cy="4525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8611287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rgbClr val="0C0C0C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789884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rgbClr val="0C0C0C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rgbClr val="0C0C0C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rgbClr val="0C0C0C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F9D744F-A08B-5145-BBEA-D42E6BD319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" y="1533600"/>
            <a:ext cx="4430684" cy="44306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42965225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110949"/>
            <a:ext cx="10972800" cy="1143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600" y="1602000"/>
            <a:ext cx="10972800" cy="452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689333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614252" y="1676400"/>
            <a:ext cx="5791200" cy="4343400"/>
          </a:xfrm>
          <a:prstGeom prst="ellipse">
            <a:avLst/>
          </a:prstGeom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894246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5994400" y="1676400"/>
            <a:ext cx="5791200" cy="4343400"/>
          </a:xfrm>
          <a:prstGeom prst="ellipse">
            <a:avLst/>
          </a:prstGeom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993060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 bwMode="ltGray">
          <a:xfrm>
            <a:off x="-17630" y="-9254"/>
            <a:ext cx="6234987" cy="6867254"/>
          </a:xfrm>
          <a:custGeom>
            <a:avLst/>
            <a:gdLst>
              <a:gd name="connsiteX0" fmla="*/ 0 w 8001000"/>
              <a:gd name="connsiteY0" fmla="*/ 4000500 h 8001000"/>
              <a:gd name="connsiteX1" fmla="*/ 4000500 w 8001000"/>
              <a:gd name="connsiteY1" fmla="*/ 0 h 8001000"/>
              <a:gd name="connsiteX2" fmla="*/ 8001000 w 8001000"/>
              <a:gd name="connsiteY2" fmla="*/ 4000500 h 8001000"/>
              <a:gd name="connsiteX3" fmla="*/ 4000500 w 8001000"/>
              <a:gd name="connsiteY3" fmla="*/ 8001000 h 8001000"/>
              <a:gd name="connsiteX4" fmla="*/ 0 w 8001000"/>
              <a:gd name="connsiteY4" fmla="*/ 4000500 h 8001000"/>
              <a:gd name="connsiteX0" fmla="*/ 0 w 8060683"/>
              <a:gd name="connsiteY0" fmla="*/ 4222799 h 8223299"/>
              <a:gd name="connsiteX1" fmla="*/ 4000500 w 8060683"/>
              <a:gd name="connsiteY1" fmla="*/ 222299 h 8223299"/>
              <a:gd name="connsiteX2" fmla="*/ 6237602 w 8060683"/>
              <a:gd name="connsiteY2" fmla="*/ 908099 h 8223299"/>
              <a:gd name="connsiteX3" fmla="*/ 8001000 w 8060683"/>
              <a:gd name="connsiteY3" fmla="*/ 4222799 h 8223299"/>
              <a:gd name="connsiteX4" fmla="*/ 4000500 w 8060683"/>
              <a:gd name="connsiteY4" fmla="*/ 8223299 h 8223299"/>
              <a:gd name="connsiteX5" fmla="*/ 0 w 8060683"/>
              <a:gd name="connsiteY5" fmla="*/ 4222799 h 8223299"/>
              <a:gd name="connsiteX0" fmla="*/ 8055 w 8068738"/>
              <a:gd name="connsiteY0" fmla="*/ 3760842 h 7761342"/>
              <a:gd name="connsiteX1" fmla="*/ 3296378 w 8068738"/>
              <a:gd name="connsiteY1" fmla="*/ 472519 h 7761342"/>
              <a:gd name="connsiteX2" fmla="*/ 6245657 w 8068738"/>
              <a:gd name="connsiteY2" fmla="*/ 446142 h 7761342"/>
              <a:gd name="connsiteX3" fmla="*/ 8009055 w 8068738"/>
              <a:gd name="connsiteY3" fmla="*/ 3760842 h 7761342"/>
              <a:gd name="connsiteX4" fmla="*/ 4008555 w 8068738"/>
              <a:gd name="connsiteY4" fmla="*/ 7761342 h 7761342"/>
              <a:gd name="connsiteX5" fmla="*/ 8055 w 8068738"/>
              <a:gd name="connsiteY5" fmla="*/ 3760842 h 7761342"/>
              <a:gd name="connsiteX0" fmla="*/ 6123 w 8066806"/>
              <a:gd name="connsiteY0" fmla="*/ 3768834 h 7769334"/>
              <a:gd name="connsiteX1" fmla="*/ 3373577 w 8066806"/>
              <a:gd name="connsiteY1" fmla="*/ 462926 h 7769334"/>
              <a:gd name="connsiteX2" fmla="*/ 6243725 w 8066806"/>
              <a:gd name="connsiteY2" fmla="*/ 454134 h 7769334"/>
              <a:gd name="connsiteX3" fmla="*/ 8007123 w 8066806"/>
              <a:gd name="connsiteY3" fmla="*/ 3768834 h 7769334"/>
              <a:gd name="connsiteX4" fmla="*/ 4006623 w 8066806"/>
              <a:gd name="connsiteY4" fmla="*/ 7769334 h 7769334"/>
              <a:gd name="connsiteX5" fmla="*/ 6123 w 8066806"/>
              <a:gd name="connsiteY5" fmla="*/ 3768834 h 7769334"/>
              <a:gd name="connsiteX0" fmla="*/ 6939 w 8067622"/>
              <a:gd name="connsiteY0" fmla="*/ 3768834 h 7769334"/>
              <a:gd name="connsiteX1" fmla="*/ 3339224 w 8067622"/>
              <a:gd name="connsiteY1" fmla="*/ 462926 h 7769334"/>
              <a:gd name="connsiteX2" fmla="*/ 6244541 w 8067622"/>
              <a:gd name="connsiteY2" fmla="*/ 454134 h 7769334"/>
              <a:gd name="connsiteX3" fmla="*/ 8007939 w 8067622"/>
              <a:gd name="connsiteY3" fmla="*/ 3768834 h 7769334"/>
              <a:gd name="connsiteX4" fmla="*/ 4007439 w 8067622"/>
              <a:gd name="connsiteY4" fmla="*/ 7769334 h 7769334"/>
              <a:gd name="connsiteX5" fmla="*/ 6939 w 8067622"/>
              <a:gd name="connsiteY5" fmla="*/ 3768834 h 7769334"/>
              <a:gd name="connsiteX0" fmla="*/ 6939 w 8010086"/>
              <a:gd name="connsiteY0" fmla="*/ 3768834 h 7984710"/>
              <a:gd name="connsiteX1" fmla="*/ 3339224 w 8010086"/>
              <a:gd name="connsiteY1" fmla="*/ 462926 h 7984710"/>
              <a:gd name="connsiteX2" fmla="*/ 6244541 w 8010086"/>
              <a:gd name="connsiteY2" fmla="*/ 454134 h 7984710"/>
              <a:gd name="connsiteX3" fmla="*/ 8007939 w 8010086"/>
              <a:gd name="connsiteY3" fmla="*/ 3768834 h 7984710"/>
              <a:gd name="connsiteX4" fmla="*/ 5892849 w 8010086"/>
              <a:gd name="connsiteY4" fmla="*/ 7057157 h 7984710"/>
              <a:gd name="connsiteX5" fmla="*/ 4007439 w 8010086"/>
              <a:gd name="connsiteY5" fmla="*/ 7769334 h 7984710"/>
              <a:gd name="connsiteX6" fmla="*/ 6939 w 8010086"/>
              <a:gd name="connsiteY6" fmla="*/ 3768834 h 7984710"/>
              <a:gd name="connsiteX0" fmla="*/ 6939 w 8010086"/>
              <a:gd name="connsiteY0" fmla="*/ 3768834 h 8061801"/>
              <a:gd name="connsiteX1" fmla="*/ 3339224 w 8010086"/>
              <a:gd name="connsiteY1" fmla="*/ 462926 h 8061801"/>
              <a:gd name="connsiteX2" fmla="*/ 6244541 w 8010086"/>
              <a:gd name="connsiteY2" fmla="*/ 454134 h 8061801"/>
              <a:gd name="connsiteX3" fmla="*/ 8007939 w 8010086"/>
              <a:gd name="connsiteY3" fmla="*/ 3768834 h 8061801"/>
              <a:gd name="connsiteX4" fmla="*/ 5892849 w 8010086"/>
              <a:gd name="connsiteY4" fmla="*/ 7312134 h 8061801"/>
              <a:gd name="connsiteX5" fmla="*/ 4007439 w 8010086"/>
              <a:gd name="connsiteY5" fmla="*/ 7769334 h 8061801"/>
              <a:gd name="connsiteX6" fmla="*/ 6939 w 8010086"/>
              <a:gd name="connsiteY6" fmla="*/ 3768834 h 8061801"/>
              <a:gd name="connsiteX0" fmla="*/ 6 w 8003153"/>
              <a:gd name="connsiteY0" fmla="*/ 3768834 h 7779879"/>
              <a:gd name="connsiteX1" fmla="*/ 3332291 w 8003153"/>
              <a:gd name="connsiteY1" fmla="*/ 462926 h 7779879"/>
              <a:gd name="connsiteX2" fmla="*/ 6237608 w 8003153"/>
              <a:gd name="connsiteY2" fmla="*/ 454134 h 7779879"/>
              <a:gd name="connsiteX3" fmla="*/ 8001006 w 8003153"/>
              <a:gd name="connsiteY3" fmla="*/ 3768834 h 7779879"/>
              <a:gd name="connsiteX4" fmla="*/ 5885916 w 8003153"/>
              <a:gd name="connsiteY4" fmla="*/ 7312134 h 7779879"/>
              <a:gd name="connsiteX5" fmla="*/ 3349875 w 8003153"/>
              <a:gd name="connsiteY5" fmla="*/ 7303342 h 7779879"/>
              <a:gd name="connsiteX6" fmla="*/ 6 w 8003153"/>
              <a:gd name="connsiteY6" fmla="*/ 3768834 h 7779879"/>
              <a:gd name="connsiteX0" fmla="*/ 3 w 8003150"/>
              <a:gd name="connsiteY0" fmla="*/ 3768834 h 7775751"/>
              <a:gd name="connsiteX1" fmla="*/ 3332288 w 8003150"/>
              <a:gd name="connsiteY1" fmla="*/ 462926 h 7775751"/>
              <a:gd name="connsiteX2" fmla="*/ 6237605 w 8003150"/>
              <a:gd name="connsiteY2" fmla="*/ 454134 h 7775751"/>
              <a:gd name="connsiteX3" fmla="*/ 8001003 w 8003150"/>
              <a:gd name="connsiteY3" fmla="*/ 3768834 h 7775751"/>
              <a:gd name="connsiteX4" fmla="*/ 5885913 w 8003150"/>
              <a:gd name="connsiteY4" fmla="*/ 7312134 h 7775751"/>
              <a:gd name="connsiteX5" fmla="*/ 3314702 w 8003150"/>
              <a:gd name="connsiteY5" fmla="*/ 7294550 h 7775751"/>
              <a:gd name="connsiteX6" fmla="*/ 3 w 8003150"/>
              <a:gd name="connsiteY6" fmla="*/ 3768834 h 77757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35777 h 7832403"/>
              <a:gd name="connsiteX1" fmla="*/ 664079 w 5334941"/>
              <a:gd name="connsiteY1" fmla="*/ 304153 h 7832403"/>
              <a:gd name="connsiteX2" fmla="*/ 3569396 w 5334941"/>
              <a:gd name="connsiteY2" fmla="*/ 295361 h 7832403"/>
              <a:gd name="connsiteX3" fmla="*/ 5332794 w 5334941"/>
              <a:gd name="connsiteY3" fmla="*/ 3610061 h 7832403"/>
              <a:gd name="connsiteX4" fmla="*/ 3217704 w 5334941"/>
              <a:gd name="connsiteY4" fmla="*/ 7153361 h 7832403"/>
              <a:gd name="connsiteX5" fmla="*/ 646493 w 5334941"/>
              <a:gd name="connsiteY5" fmla="*/ 7135777 h 7832403"/>
              <a:gd name="connsiteX0" fmla="*/ 182720 w 4871168"/>
              <a:gd name="connsiteY0" fmla="*/ 7135777 h 7832403"/>
              <a:gd name="connsiteX1" fmla="*/ 200306 w 4871168"/>
              <a:gd name="connsiteY1" fmla="*/ 304153 h 7832403"/>
              <a:gd name="connsiteX2" fmla="*/ 3105623 w 4871168"/>
              <a:gd name="connsiteY2" fmla="*/ 295361 h 7832403"/>
              <a:gd name="connsiteX3" fmla="*/ 4869021 w 4871168"/>
              <a:gd name="connsiteY3" fmla="*/ 3610061 h 7832403"/>
              <a:gd name="connsiteX4" fmla="*/ 2753931 w 4871168"/>
              <a:gd name="connsiteY4" fmla="*/ 7153361 h 7832403"/>
              <a:gd name="connsiteX5" fmla="*/ 182720 w 4871168"/>
              <a:gd name="connsiteY5" fmla="*/ 7135777 h 7832403"/>
              <a:gd name="connsiteX0" fmla="*/ 182720 w 4871168"/>
              <a:gd name="connsiteY0" fmla="*/ 7124471 h 7821097"/>
              <a:gd name="connsiteX1" fmla="*/ 200306 w 4871168"/>
              <a:gd name="connsiteY1" fmla="*/ 292847 h 7821097"/>
              <a:gd name="connsiteX2" fmla="*/ 3105623 w 4871168"/>
              <a:gd name="connsiteY2" fmla="*/ 284055 h 7821097"/>
              <a:gd name="connsiteX3" fmla="*/ 4869021 w 4871168"/>
              <a:gd name="connsiteY3" fmla="*/ 3598755 h 7821097"/>
              <a:gd name="connsiteX4" fmla="*/ 2753931 w 4871168"/>
              <a:gd name="connsiteY4" fmla="*/ 7142055 h 7821097"/>
              <a:gd name="connsiteX5" fmla="*/ 182720 w 4871168"/>
              <a:gd name="connsiteY5" fmla="*/ 7124471 h 7821097"/>
              <a:gd name="connsiteX0" fmla="*/ 182720 w 4871168"/>
              <a:gd name="connsiteY0" fmla="*/ 7133321 h 7829947"/>
              <a:gd name="connsiteX1" fmla="*/ 200306 w 4871168"/>
              <a:gd name="connsiteY1" fmla="*/ 301697 h 7829947"/>
              <a:gd name="connsiteX2" fmla="*/ 3105623 w 4871168"/>
              <a:gd name="connsiteY2" fmla="*/ 292905 h 7829947"/>
              <a:gd name="connsiteX3" fmla="*/ 4869021 w 4871168"/>
              <a:gd name="connsiteY3" fmla="*/ 3607605 h 7829947"/>
              <a:gd name="connsiteX4" fmla="*/ 2753931 w 4871168"/>
              <a:gd name="connsiteY4" fmla="*/ 7150905 h 7829947"/>
              <a:gd name="connsiteX5" fmla="*/ 182720 w 4871168"/>
              <a:gd name="connsiteY5" fmla="*/ 7133321 h 7829947"/>
              <a:gd name="connsiteX0" fmla="*/ 186720 w 4875168"/>
              <a:gd name="connsiteY0" fmla="*/ 7137599 h 7835370"/>
              <a:gd name="connsiteX1" fmla="*/ 191837 w 4875168"/>
              <a:gd name="connsiteY1" fmla="*/ 289350 h 7835370"/>
              <a:gd name="connsiteX2" fmla="*/ 3109623 w 4875168"/>
              <a:gd name="connsiteY2" fmla="*/ 297183 h 7835370"/>
              <a:gd name="connsiteX3" fmla="*/ 4873021 w 4875168"/>
              <a:gd name="connsiteY3" fmla="*/ 3611883 h 7835370"/>
              <a:gd name="connsiteX4" fmla="*/ 2757931 w 4875168"/>
              <a:gd name="connsiteY4" fmla="*/ 7155183 h 7835370"/>
              <a:gd name="connsiteX5" fmla="*/ 186720 w 4875168"/>
              <a:gd name="connsiteY5" fmla="*/ 7137599 h 7835370"/>
              <a:gd name="connsiteX0" fmla="*/ 171307 w 4859755"/>
              <a:gd name="connsiteY0" fmla="*/ 7112714 h 7803338"/>
              <a:gd name="connsiteX1" fmla="*/ 226300 w 4859755"/>
              <a:gd name="connsiteY1" fmla="*/ 368374 h 7803338"/>
              <a:gd name="connsiteX2" fmla="*/ 3094210 w 4859755"/>
              <a:gd name="connsiteY2" fmla="*/ 272298 h 7803338"/>
              <a:gd name="connsiteX3" fmla="*/ 4857608 w 4859755"/>
              <a:gd name="connsiteY3" fmla="*/ 3586998 h 7803338"/>
              <a:gd name="connsiteX4" fmla="*/ 2742518 w 4859755"/>
              <a:gd name="connsiteY4" fmla="*/ 7130298 h 7803338"/>
              <a:gd name="connsiteX5" fmla="*/ 171307 w 4859755"/>
              <a:gd name="connsiteY5" fmla="*/ 7112714 h 7803338"/>
              <a:gd name="connsiteX0" fmla="*/ 184041 w 4872489"/>
              <a:gd name="connsiteY0" fmla="*/ 7134379 h 7831291"/>
              <a:gd name="connsiteX1" fmla="*/ 197470 w 4872489"/>
              <a:gd name="connsiteY1" fmla="*/ 298599 h 7831291"/>
              <a:gd name="connsiteX2" fmla="*/ 3106944 w 4872489"/>
              <a:gd name="connsiteY2" fmla="*/ 293963 h 7831291"/>
              <a:gd name="connsiteX3" fmla="*/ 4870342 w 4872489"/>
              <a:gd name="connsiteY3" fmla="*/ 3608663 h 7831291"/>
              <a:gd name="connsiteX4" fmla="*/ 2755252 w 4872489"/>
              <a:gd name="connsiteY4" fmla="*/ 7151963 h 7831291"/>
              <a:gd name="connsiteX5" fmla="*/ 184041 w 4872489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9716 w 4868927"/>
              <a:gd name="connsiteY0" fmla="*/ 7152851 h 7842196"/>
              <a:gd name="connsiteX1" fmla="*/ 193908 w 4868927"/>
              <a:gd name="connsiteY1" fmla="*/ 298599 h 7842196"/>
              <a:gd name="connsiteX2" fmla="*/ 3103382 w 4868927"/>
              <a:gd name="connsiteY2" fmla="*/ 293963 h 7842196"/>
              <a:gd name="connsiteX3" fmla="*/ 4866780 w 4868927"/>
              <a:gd name="connsiteY3" fmla="*/ 3608663 h 7842196"/>
              <a:gd name="connsiteX4" fmla="*/ 2751690 w 4868927"/>
              <a:gd name="connsiteY4" fmla="*/ 7151963 h 7842196"/>
              <a:gd name="connsiteX5" fmla="*/ 189716 w 4868927"/>
              <a:gd name="connsiteY5" fmla="*/ 7152851 h 7842196"/>
              <a:gd name="connsiteX0" fmla="*/ 2 w 4679213"/>
              <a:gd name="connsiteY0" fmla="*/ 7152851 h 7447842"/>
              <a:gd name="connsiteX1" fmla="*/ 4194 w 4679213"/>
              <a:gd name="connsiteY1" fmla="*/ 298599 h 7447842"/>
              <a:gd name="connsiteX2" fmla="*/ 2913668 w 4679213"/>
              <a:gd name="connsiteY2" fmla="*/ 293963 h 7447842"/>
              <a:gd name="connsiteX3" fmla="*/ 4677066 w 4679213"/>
              <a:gd name="connsiteY3" fmla="*/ 3608663 h 7447842"/>
              <a:gd name="connsiteX4" fmla="*/ 2561976 w 4679213"/>
              <a:gd name="connsiteY4" fmla="*/ 7151963 h 7447842"/>
              <a:gd name="connsiteX5" fmla="*/ 2 w 4679213"/>
              <a:gd name="connsiteY5" fmla="*/ 7152851 h 7447842"/>
              <a:gd name="connsiteX0" fmla="*/ 232986 w 4675130"/>
              <a:gd name="connsiteY0" fmla="*/ 7082039 h 7430577"/>
              <a:gd name="connsiteX1" fmla="*/ 111 w 4675130"/>
              <a:gd name="connsiteY1" fmla="*/ 298599 h 7430577"/>
              <a:gd name="connsiteX2" fmla="*/ 2909585 w 4675130"/>
              <a:gd name="connsiteY2" fmla="*/ 293963 h 7430577"/>
              <a:gd name="connsiteX3" fmla="*/ 4672983 w 4675130"/>
              <a:gd name="connsiteY3" fmla="*/ 3608663 h 7430577"/>
              <a:gd name="connsiteX4" fmla="*/ 2557893 w 4675130"/>
              <a:gd name="connsiteY4" fmla="*/ 7151963 h 7430577"/>
              <a:gd name="connsiteX5" fmla="*/ 232986 w 4675130"/>
              <a:gd name="connsiteY5" fmla="*/ 7082039 h 7430577"/>
              <a:gd name="connsiteX0" fmla="*/ 1481 w 4677613"/>
              <a:gd name="connsiteY0" fmla="*/ 7149773 h 7447048"/>
              <a:gd name="connsiteX1" fmla="*/ 2594 w 4677613"/>
              <a:gd name="connsiteY1" fmla="*/ 298599 h 7447048"/>
              <a:gd name="connsiteX2" fmla="*/ 2912068 w 4677613"/>
              <a:gd name="connsiteY2" fmla="*/ 293963 h 7447048"/>
              <a:gd name="connsiteX3" fmla="*/ 4675466 w 4677613"/>
              <a:gd name="connsiteY3" fmla="*/ 3608663 h 7447048"/>
              <a:gd name="connsiteX4" fmla="*/ 2560376 w 4677613"/>
              <a:gd name="connsiteY4" fmla="*/ 7151963 h 7447048"/>
              <a:gd name="connsiteX5" fmla="*/ 1481 w 4677613"/>
              <a:gd name="connsiteY5" fmla="*/ 7149773 h 7447048"/>
              <a:gd name="connsiteX0" fmla="*/ 165734 w 4841866"/>
              <a:gd name="connsiteY0" fmla="*/ 7139154 h 7826771"/>
              <a:gd name="connsiteX1" fmla="*/ 246896 w 4841866"/>
              <a:gd name="connsiteY1" fmla="*/ 331083 h 7826771"/>
              <a:gd name="connsiteX2" fmla="*/ 3076321 w 4841866"/>
              <a:gd name="connsiteY2" fmla="*/ 283344 h 7826771"/>
              <a:gd name="connsiteX3" fmla="*/ 4839719 w 4841866"/>
              <a:gd name="connsiteY3" fmla="*/ 3598044 h 7826771"/>
              <a:gd name="connsiteX4" fmla="*/ 2724629 w 4841866"/>
              <a:gd name="connsiteY4" fmla="*/ 7141344 h 7826771"/>
              <a:gd name="connsiteX5" fmla="*/ 165734 w 4841866"/>
              <a:gd name="connsiteY5" fmla="*/ 7139154 h 7826771"/>
              <a:gd name="connsiteX0" fmla="*/ 192597 w 4868729"/>
              <a:gd name="connsiteY0" fmla="*/ 7111990 h 7790893"/>
              <a:gd name="connsiteX1" fmla="*/ 187553 w 4868729"/>
              <a:gd name="connsiteY1" fmla="*/ 430149 h 7790893"/>
              <a:gd name="connsiteX2" fmla="*/ 3103184 w 4868729"/>
              <a:gd name="connsiteY2" fmla="*/ 256180 h 7790893"/>
              <a:gd name="connsiteX3" fmla="*/ 4866582 w 4868729"/>
              <a:gd name="connsiteY3" fmla="*/ 3570880 h 7790893"/>
              <a:gd name="connsiteX4" fmla="*/ 2751492 w 4868729"/>
              <a:gd name="connsiteY4" fmla="*/ 7114180 h 7790893"/>
              <a:gd name="connsiteX5" fmla="*/ 192597 w 4868729"/>
              <a:gd name="connsiteY5" fmla="*/ 7111990 h 7790893"/>
              <a:gd name="connsiteX0" fmla="*/ 135176 w 4811308"/>
              <a:gd name="connsiteY0" fmla="*/ 7105556 h 7782125"/>
              <a:gd name="connsiteX1" fmla="*/ 336411 w 4811308"/>
              <a:gd name="connsiteY1" fmla="*/ 457582 h 7782125"/>
              <a:gd name="connsiteX2" fmla="*/ 3045763 w 4811308"/>
              <a:gd name="connsiteY2" fmla="*/ 249746 h 7782125"/>
              <a:gd name="connsiteX3" fmla="*/ 4809161 w 4811308"/>
              <a:gd name="connsiteY3" fmla="*/ 3564446 h 7782125"/>
              <a:gd name="connsiteX4" fmla="*/ 2694071 w 4811308"/>
              <a:gd name="connsiteY4" fmla="*/ 7107746 h 7782125"/>
              <a:gd name="connsiteX5" fmla="*/ 135176 w 4811308"/>
              <a:gd name="connsiteY5" fmla="*/ 7105556 h 7782125"/>
              <a:gd name="connsiteX0" fmla="*/ 157213 w 4833345"/>
              <a:gd name="connsiteY0" fmla="*/ 7115639 h 7795816"/>
              <a:gd name="connsiteX1" fmla="*/ 269163 w 4833345"/>
              <a:gd name="connsiteY1" fmla="*/ 415325 h 7795816"/>
              <a:gd name="connsiteX2" fmla="*/ 3067800 w 4833345"/>
              <a:gd name="connsiteY2" fmla="*/ 259829 h 7795816"/>
              <a:gd name="connsiteX3" fmla="*/ 4831198 w 4833345"/>
              <a:gd name="connsiteY3" fmla="*/ 3574529 h 7795816"/>
              <a:gd name="connsiteX4" fmla="*/ 2716108 w 4833345"/>
              <a:gd name="connsiteY4" fmla="*/ 7117829 h 7795816"/>
              <a:gd name="connsiteX5" fmla="*/ 157213 w 4833345"/>
              <a:gd name="connsiteY5" fmla="*/ 7115639 h 7795816"/>
              <a:gd name="connsiteX0" fmla="*/ 156353 w 4832485"/>
              <a:gd name="connsiteY0" fmla="*/ 7115639 h 7795816"/>
              <a:gd name="connsiteX1" fmla="*/ 268303 w 4832485"/>
              <a:gd name="connsiteY1" fmla="*/ 415325 h 7795816"/>
              <a:gd name="connsiteX2" fmla="*/ 3066940 w 4832485"/>
              <a:gd name="connsiteY2" fmla="*/ 259829 h 7795816"/>
              <a:gd name="connsiteX3" fmla="*/ 4830338 w 4832485"/>
              <a:gd name="connsiteY3" fmla="*/ 3574529 h 7795816"/>
              <a:gd name="connsiteX4" fmla="*/ 2715248 w 4832485"/>
              <a:gd name="connsiteY4" fmla="*/ 7117829 h 7795816"/>
              <a:gd name="connsiteX5" fmla="*/ 156353 w 4832485"/>
              <a:gd name="connsiteY5" fmla="*/ 7115639 h 7795816"/>
              <a:gd name="connsiteX0" fmla="*/ 162218 w 4838350"/>
              <a:gd name="connsiteY0" fmla="*/ 7153758 h 7845421"/>
              <a:gd name="connsiteX1" fmla="*/ 252617 w 4838350"/>
              <a:gd name="connsiteY1" fmla="*/ 287189 h 7845421"/>
              <a:gd name="connsiteX2" fmla="*/ 3072805 w 4838350"/>
              <a:gd name="connsiteY2" fmla="*/ 297948 h 7845421"/>
              <a:gd name="connsiteX3" fmla="*/ 4836203 w 4838350"/>
              <a:gd name="connsiteY3" fmla="*/ 3612648 h 7845421"/>
              <a:gd name="connsiteX4" fmla="*/ 2721113 w 4838350"/>
              <a:gd name="connsiteY4" fmla="*/ 7155948 h 7845421"/>
              <a:gd name="connsiteX5" fmla="*/ 162218 w 4838350"/>
              <a:gd name="connsiteY5" fmla="*/ 7153758 h 7845421"/>
              <a:gd name="connsiteX0" fmla="*/ 162218 w 4838350"/>
              <a:gd name="connsiteY0" fmla="*/ 7127231 h 7811232"/>
              <a:gd name="connsiteX1" fmla="*/ 252617 w 4838350"/>
              <a:gd name="connsiteY1" fmla="*/ 371498 h 7811232"/>
              <a:gd name="connsiteX2" fmla="*/ 3072805 w 4838350"/>
              <a:gd name="connsiteY2" fmla="*/ 271421 h 7811232"/>
              <a:gd name="connsiteX3" fmla="*/ 4836203 w 4838350"/>
              <a:gd name="connsiteY3" fmla="*/ 3586121 h 7811232"/>
              <a:gd name="connsiteX4" fmla="*/ 2721113 w 4838350"/>
              <a:gd name="connsiteY4" fmla="*/ 7129421 h 7811232"/>
              <a:gd name="connsiteX5" fmla="*/ 162218 w 4838350"/>
              <a:gd name="connsiteY5" fmla="*/ 7127231 h 7811232"/>
              <a:gd name="connsiteX0" fmla="*/ 169100 w 4845232"/>
              <a:gd name="connsiteY0" fmla="*/ 7127237 h 7811238"/>
              <a:gd name="connsiteX1" fmla="*/ 259499 w 4845232"/>
              <a:gd name="connsiteY1" fmla="*/ 371504 h 7811238"/>
              <a:gd name="connsiteX2" fmla="*/ 3079687 w 4845232"/>
              <a:gd name="connsiteY2" fmla="*/ 271427 h 7811238"/>
              <a:gd name="connsiteX3" fmla="*/ 4843085 w 4845232"/>
              <a:gd name="connsiteY3" fmla="*/ 3586127 h 7811238"/>
              <a:gd name="connsiteX4" fmla="*/ 2727995 w 4845232"/>
              <a:gd name="connsiteY4" fmla="*/ 7129427 h 7811238"/>
              <a:gd name="connsiteX5" fmla="*/ 169100 w 4845232"/>
              <a:gd name="connsiteY5" fmla="*/ 7127237 h 7811238"/>
              <a:gd name="connsiteX0" fmla="*/ 219843 w 4895975"/>
              <a:gd name="connsiteY0" fmla="*/ 7118137 h 7799163"/>
              <a:gd name="connsiteX1" fmla="*/ 162460 w 4895975"/>
              <a:gd name="connsiteY1" fmla="*/ 405507 h 7799163"/>
              <a:gd name="connsiteX2" fmla="*/ 3130430 w 4895975"/>
              <a:gd name="connsiteY2" fmla="*/ 262327 h 7799163"/>
              <a:gd name="connsiteX3" fmla="*/ 4893828 w 4895975"/>
              <a:gd name="connsiteY3" fmla="*/ 3577027 h 7799163"/>
              <a:gd name="connsiteX4" fmla="*/ 2778738 w 4895975"/>
              <a:gd name="connsiteY4" fmla="*/ 7120327 h 7799163"/>
              <a:gd name="connsiteX5" fmla="*/ 219843 w 4895975"/>
              <a:gd name="connsiteY5" fmla="*/ 7118137 h 7799163"/>
              <a:gd name="connsiteX0" fmla="*/ 202277 w 4878409"/>
              <a:gd name="connsiteY0" fmla="*/ 7113808 h 7793348"/>
              <a:gd name="connsiteX1" fmla="*/ 191076 w 4878409"/>
              <a:gd name="connsiteY1" fmla="*/ 422730 h 7793348"/>
              <a:gd name="connsiteX2" fmla="*/ 3112864 w 4878409"/>
              <a:gd name="connsiteY2" fmla="*/ 257998 h 7793348"/>
              <a:gd name="connsiteX3" fmla="*/ 4876262 w 4878409"/>
              <a:gd name="connsiteY3" fmla="*/ 3572698 h 7793348"/>
              <a:gd name="connsiteX4" fmla="*/ 2761172 w 4878409"/>
              <a:gd name="connsiteY4" fmla="*/ 7115998 h 7793348"/>
              <a:gd name="connsiteX5" fmla="*/ 202277 w 4878409"/>
              <a:gd name="connsiteY5" fmla="*/ 7113808 h 7793348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85583 w 4761715"/>
              <a:gd name="connsiteY0" fmla="*/ 7107672 h 7785019"/>
              <a:gd name="connsiteX1" fmla="*/ 82333 w 4761715"/>
              <a:gd name="connsiteY1" fmla="*/ 448399 h 7785019"/>
              <a:gd name="connsiteX2" fmla="*/ 2996170 w 4761715"/>
              <a:gd name="connsiteY2" fmla="*/ 251862 h 7785019"/>
              <a:gd name="connsiteX3" fmla="*/ 4759568 w 4761715"/>
              <a:gd name="connsiteY3" fmla="*/ 3566562 h 7785019"/>
              <a:gd name="connsiteX4" fmla="*/ 2644478 w 4761715"/>
              <a:gd name="connsiteY4" fmla="*/ 7109862 h 7785019"/>
              <a:gd name="connsiteX5" fmla="*/ 85583 w 4761715"/>
              <a:gd name="connsiteY5" fmla="*/ 7107672 h 7785019"/>
              <a:gd name="connsiteX0" fmla="*/ 85583 w 4761715"/>
              <a:gd name="connsiteY0" fmla="*/ 7074631 h 7751978"/>
              <a:gd name="connsiteX1" fmla="*/ 82333 w 4761715"/>
              <a:gd name="connsiteY1" fmla="*/ 415358 h 7751978"/>
              <a:gd name="connsiteX2" fmla="*/ 2996170 w 4761715"/>
              <a:gd name="connsiteY2" fmla="*/ 218821 h 7751978"/>
              <a:gd name="connsiteX3" fmla="*/ 4759568 w 4761715"/>
              <a:gd name="connsiteY3" fmla="*/ 3533521 h 7751978"/>
              <a:gd name="connsiteX4" fmla="*/ 2644478 w 4761715"/>
              <a:gd name="connsiteY4" fmla="*/ 7076821 h 7751978"/>
              <a:gd name="connsiteX5" fmla="*/ 85583 w 4761715"/>
              <a:gd name="connsiteY5" fmla="*/ 7074631 h 7751978"/>
              <a:gd name="connsiteX0" fmla="*/ 157610 w 4833742"/>
              <a:gd name="connsiteY0" fmla="*/ 7074631 h 7751978"/>
              <a:gd name="connsiteX1" fmla="*/ 154360 w 4833742"/>
              <a:gd name="connsiteY1" fmla="*/ 415358 h 7751978"/>
              <a:gd name="connsiteX2" fmla="*/ 3068197 w 4833742"/>
              <a:gd name="connsiteY2" fmla="*/ 218821 h 7751978"/>
              <a:gd name="connsiteX3" fmla="*/ 4831595 w 4833742"/>
              <a:gd name="connsiteY3" fmla="*/ 3533521 h 7751978"/>
              <a:gd name="connsiteX4" fmla="*/ 2716505 w 4833742"/>
              <a:gd name="connsiteY4" fmla="*/ 7076821 h 7751978"/>
              <a:gd name="connsiteX5" fmla="*/ 157610 w 4833742"/>
              <a:gd name="connsiteY5" fmla="*/ 7074631 h 7751978"/>
              <a:gd name="connsiteX0" fmla="*/ 345911 w 5022043"/>
              <a:gd name="connsiteY0" fmla="*/ 7098958 h 7776305"/>
              <a:gd name="connsiteX1" fmla="*/ 342661 w 5022043"/>
              <a:gd name="connsiteY1" fmla="*/ 439685 h 7776305"/>
              <a:gd name="connsiteX2" fmla="*/ 3256498 w 5022043"/>
              <a:gd name="connsiteY2" fmla="*/ 243148 h 7776305"/>
              <a:gd name="connsiteX3" fmla="*/ 5019896 w 5022043"/>
              <a:gd name="connsiteY3" fmla="*/ 3557848 h 7776305"/>
              <a:gd name="connsiteX4" fmla="*/ 2904806 w 5022043"/>
              <a:gd name="connsiteY4" fmla="*/ 7101148 h 7776305"/>
              <a:gd name="connsiteX5" fmla="*/ 345911 w 5022043"/>
              <a:gd name="connsiteY5" fmla="*/ 7098958 h 7776305"/>
              <a:gd name="connsiteX0" fmla="*/ 190117 w 4866249"/>
              <a:gd name="connsiteY0" fmla="*/ 7193225 h 7870572"/>
              <a:gd name="connsiteX1" fmla="*/ 186867 w 4866249"/>
              <a:gd name="connsiteY1" fmla="*/ 533952 h 7870572"/>
              <a:gd name="connsiteX2" fmla="*/ 3100704 w 4866249"/>
              <a:gd name="connsiteY2" fmla="*/ 337415 h 7870572"/>
              <a:gd name="connsiteX3" fmla="*/ 4864102 w 4866249"/>
              <a:gd name="connsiteY3" fmla="*/ 3652115 h 7870572"/>
              <a:gd name="connsiteX4" fmla="*/ 2749012 w 4866249"/>
              <a:gd name="connsiteY4" fmla="*/ 7195415 h 7870572"/>
              <a:gd name="connsiteX5" fmla="*/ 190117 w 4866249"/>
              <a:gd name="connsiteY5" fmla="*/ 7193225 h 7870572"/>
              <a:gd name="connsiteX0" fmla="*/ 188894 w 4865026"/>
              <a:gd name="connsiteY0" fmla="*/ 7274677 h 7967496"/>
              <a:gd name="connsiteX1" fmla="*/ 189317 w 4865026"/>
              <a:gd name="connsiteY1" fmla="*/ 391394 h 7967496"/>
              <a:gd name="connsiteX2" fmla="*/ 3099481 w 4865026"/>
              <a:gd name="connsiteY2" fmla="*/ 418867 h 7967496"/>
              <a:gd name="connsiteX3" fmla="*/ 4862879 w 4865026"/>
              <a:gd name="connsiteY3" fmla="*/ 3733567 h 7967496"/>
              <a:gd name="connsiteX4" fmla="*/ 2747789 w 4865026"/>
              <a:gd name="connsiteY4" fmla="*/ 7276867 h 7967496"/>
              <a:gd name="connsiteX5" fmla="*/ 188894 w 4865026"/>
              <a:gd name="connsiteY5" fmla="*/ 7274677 h 7967496"/>
              <a:gd name="connsiteX0" fmla="*/ 192591 w 4868723"/>
              <a:gd name="connsiteY0" fmla="*/ 7277850 h 7971178"/>
              <a:gd name="connsiteX1" fmla="*/ 181997 w 4868723"/>
              <a:gd name="connsiteY1" fmla="*/ 387222 h 7971178"/>
              <a:gd name="connsiteX2" fmla="*/ 3103178 w 4868723"/>
              <a:gd name="connsiteY2" fmla="*/ 422040 h 7971178"/>
              <a:gd name="connsiteX3" fmla="*/ 4866576 w 4868723"/>
              <a:gd name="connsiteY3" fmla="*/ 3736740 h 7971178"/>
              <a:gd name="connsiteX4" fmla="*/ 2751486 w 4868723"/>
              <a:gd name="connsiteY4" fmla="*/ 7280040 h 7971178"/>
              <a:gd name="connsiteX5" fmla="*/ 192591 w 4868723"/>
              <a:gd name="connsiteY5" fmla="*/ 7277850 h 7971178"/>
              <a:gd name="connsiteX0" fmla="*/ 193427 w 4869559"/>
              <a:gd name="connsiteY0" fmla="*/ 7163116 h 7856444"/>
              <a:gd name="connsiteX1" fmla="*/ 182833 w 4869559"/>
              <a:gd name="connsiteY1" fmla="*/ 272488 h 7856444"/>
              <a:gd name="connsiteX2" fmla="*/ 3104014 w 4869559"/>
              <a:gd name="connsiteY2" fmla="*/ 307306 h 7856444"/>
              <a:gd name="connsiteX3" fmla="*/ 4867412 w 4869559"/>
              <a:gd name="connsiteY3" fmla="*/ 3622006 h 7856444"/>
              <a:gd name="connsiteX4" fmla="*/ 2752322 w 4869559"/>
              <a:gd name="connsiteY4" fmla="*/ 7165306 h 7856444"/>
              <a:gd name="connsiteX5" fmla="*/ 193427 w 4869559"/>
              <a:gd name="connsiteY5" fmla="*/ 7163116 h 7856444"/>
              <a:gd name="connsiteX0" fmla="*/ 170155 w 4846287"/>
              <a:gd name="connsiteY0" fmla="*/ 7143047 h 7831040"/>
              <a:gd name="connsiteX1" fmla="*/ 233007 w 4846287"/>
              <a:gd name="connsiteY1" fmla="*/ 329537 h 7831040"/>
              <a:gd name="connsiteX2" fmla="*/ 3080742 w 4846287"/>
              <a:gd name="connsiteY2" fmla="*/ 287237 h 7831040"/>
              <a:gd name="connsiteX3" fmla="*/ 4844140 w 4846287"/>
              <a:gd name="connsiteY3" fmla="*/ 3601937 h 7831040"/>
              <a:gd name="connsiteX4" fmla="*/ 2729050 w 4846287"/>
              <a:gd name="connsiteY4" fmla="*/ 7145237 h 7831040"/>
              <a:gd name="connsiteX5" fmla="*/ 170155 w 4846287"/>
              <a:gd name="connsiteY5" fmla="*/ 7143047 h 7831040"/>
              <a:gd name="connsiteX0" fmla="*/ 188486 w 4864618"/>
              <a:gd name="connsiteY0" fmla="*/ 7162098 h 7855172"/>
              <a:gd name="connsiteX1" fmla="*/ 192581 w 4864618"/>
              <a:gd name="connsiteY1" fmla="*/ 275143 h 7855172"/>
              <a:gd name="connsiteX2" fmla="*/ 3099073 w 4864618"/>
              <a:gd name="connsiteY2" fmla="*/ 306288 h 7855172"/>
              <a:gd name="connsiteX3" fmla="*/ 4862471 w 4864618"/>
              <a:gd name="connsiteY3" fmla="*/ 3620988 h 7855172"/>
              <a:gd name="connsiteX4" fmla="*/ 2747381 w 4864618"/>
              <a:gd name="connsiteY4" fmla="*/ 7164288 h 7855172"/>
              <a:gd name="connsiteX5" fmla="*/ 188486 w 4864618"/>
              <a:gd name="connsiteY5" fmla="*/ 7162098 h 785517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181559 h 7874633"/>
              <a:gd name="connsiteX1" fmla="*/ 344138 w 5016181"/>
              <a:gd name="connsiteY1" fmla="*/ 294604 h 7874633"/>
              <a:gd name="connsiteX2" fmla="*/ 3254303 w 5016181"/>
              <a:gd name="connsiteY2" fmla="*/ 296371 h 7874633"/>
              <a:gd name="connsiteX3" fmla="*/ 5014028 w 5016181"/>
              <a:gd name="connsiteY3" fmla="*/ 3640449 h 7874633"/>
              <a:gd name="connsiteX4" fmla="*/ 2898938 w 5016181"/>
              <a:gd name="connsiteY4" fmla="*/ 7183749 h 7874633"/>
              <a:gd name="connsiteX5" fmla="*/ 340043 w 5016181"/>
              <a:gd name="connsiteY5" fmla="*/ 7181559 h 7874633"/>
              <a:gd name="connsiteX0" fmla="*/ 340043 w 5016181"/>
              <a:gd name="connsiteY0" fmla="*/ 7183197 h 7876271"/>
              <a:gd name="connsiteX1" fmla="*/ 344138 w 5016181"/>
              <a:gd name="connsiteY1" fmla="*/ 296242 h 7876271"/>
              <a:gd name="connsiteX2" fmla="*/ 3254303 w 5016181"/>
              <a:gd name="connsiteY2" fmla="*/ 298009 h 7876271"/>
              <a:gd name="connsiteX3" fmla="*/ 5014028 w 5016181"/>
              <a:gd name="connsiteY3" fmla="*/ 3642087 h 7876271"/>
              <a:gd name="connsiteX4" fmla="*/ 2898938 w 5016181"/>
              <a:gd name="connsiteY4" fmla="*/ 7185387 h 7876271"/>
              <a:gd name="connsiteX5" fmla="*/ 340043 w 5016181"/>
              <a:gd name="connsiteY5" fmla="*/ 7183197 h 7876271"/>
              <a:gd name="connsiteX0" fmla="*/ 340043 w 5016181"/>
              <a:gd name="connsiteY0" fmla="*/ 7184031 h 7877324"/>
              <a:gd name="connsiteX1" fmla="*/ 344138 w 5016181"/>
              <a:gd name="connsiteY1" fmla="*/ 293901 h 7877324"/>
              <a:gd name="connsiteX2" fmla="*/ 3254303 w 5016181"/>
              <a:gd name="connsiteY2" fmla="*/ 298843 h 7877324"/>
              <a:gd name="connsiteX3" fmla="*/ 5014028 w 5016181"/>
              <a:gd name="connsiteY3" fmla="*/ 3642921 h 7877324"/>
              <a:gd name="connsiteX4" fmla="*/ 2898938 w 5016181"/>
              <a:gd name="connsiteY4" fmla="*/ 7186221 h 7877324"/>
              <a:gd name="connsiteX5" fmla="*/ 340043 w 5016181"/>
              <a:gd name="connsiteY5" fmla="*/ 7184031 h 7877324"/>
              <a:gd name="connsiteX0" fmla="*/ 338200 w 5014338"/>
              <a:gd name="connsiteY0" fmla="*/ 7184031 h 7877324"/>
              <a:gd name="connsiteX1" fmla="*/ 345470 w 5014338"/>
              <a:gd name="connsiteY1" fmla="*/ 293901 h 7877324"/>
              <a:gd name="connsiteX2" fmla="*/ 3252460 w 5014338"/>
              <a:gd name="connsiteY2" fmla="*/ 298843 h 7877324"/>
              <a:gd name="connsiteX3" fmla="*/ 5012185 w 5014338"/>
              <a:gd name="connsiteY3" fmla="*/ 3642921 h 7877324"/>
              <a:gd name="connsiteX4" fmla="*/ 2897095 w 5014338"/>
              <a:gd name="connsiteY4" fmla="*/ 7186221 h 7877324"/>
              <a:gd name="connsiteX5" fmla="*/ 338200 w 5014338"/>
              <a:gd name="connsiteY5" fmla="*/ 7184031 h 7877324"/>
              <a:gd name="connsiteX0" fmla="*/ 338200 w 5014338"/>
              <a:gd name="connsiteY0" fmla="*/ 7183318 h 7876611"/>
              <a:gd name="connsiteX1" fmla="*/ 345470 w 5014338"/>
              <a:gd name="connsiteY1" fmla="*/ 293188 h 7876611"/>
              <a:gd name="connsiteX2" fmla="*/ 3252460 w 5014338"/>
              <a:gd name="connsiteY2" fmla="*/ 298130 h 7876611"/>
              <a:gd name="connsiteX3" fmla="*/ 5012185 w 5014338"/>
              <a:gd name="connsiteY3" fmla="*/ 3642208 h 7876611"/>
              <a:gd name="connsiteX4" fmla="*/ 2897095 w 5014338"/>
              <a:gd name="connsiteY4" fmla="*/ 7185508 h 7876611"/>
              <a:gd name="connsiteX5" fmla="*/ 338200 w 5014338"/>
              <a:gd name="connsiteY5" fmla="*/ 7183318 h 7876611"/>
              <a:gd name="connsiteX0" fmla="*/ 189227 w 4865365"/>
              <a:gd name="connsiteY0" fmla="*/ 7183318 h 7876611"/>
              <a:gd name="connsiteX1" fmla="*/ 196497 w 4865365"/>
              <a:gd name="connsiteY1" fmla="*/ 293188 h 7876611"/>
              <a:gd name="connsiteX2" fmla="*/ 3103487 w 4865365"/>
              <a:gd name="connsiteY2" fmla="*/ 298130 h 7876611"/>
              <a:gd name="connsiteX3" fmla="*/ 4863212 w 4865365"/>
              <a:gd name="connsiteY3" fmla="*/ 3642208 h 7876611"/>
              <a:gd name="connsiteX4" fmla="*/ 2748122 w 4865365"/>
              <a:gd name="connsiteY4" fmla="*/ 7185508 h 7876611"/>
              <a:gd name="connsiteX5" fmla="*/ 189227 w 4865365"/>
              <a:gd name="connsiteY5" fmla="*/ 7183318 h 7876611"/>
              <a:gd name="connsiteX0" fmla="*/ 192432 w 4868570"/>
              <a:gd name="connsiteY0" fmla="*/ 7183318 h 7876611"/>
              <a:gd name="connsiteX1" fmla="*/ 190177 w 4868570"/>
              <a:gd name="connsiteY1" fmla="*/ 293188 h 7876611"/>
              <a:gd name="connsiteX2" fmla="*/ 3106692 w 4868570"/>
              <a:gd name="connsiteY2" fmla="*/ 298130 h 7876611"/>
              <a:gd name="connsiteX3" fmla="*/ 4866417 w 4868570"/>
              <a:gd name="connsiteY3" fmla="*/ 3642208 h 7876611"/>
              <a:gd name="connsiteX4" fmla="*/ 2751327 w 4868570"/>
              <a:gd name="connsiteY4" fmla="*/ 7185508 h 7876611"/>
              <a:gd name="connsiteX5" fmla="*/ 192432 w 4868570"/>
              <a:gd name="connsiteY5" fmla="*/ 7183318 h 7876611"/>
              <a:gd name="connsiteX0" fmla="*/ 190287 w 4866425"/>
              <a:gd name="connsiteY0" fmla="*/ 7183318 h 7876611"/>
              <a:gd name="connsiteX1" fmla="*/ 188032 w 4866425"/>
              <a:gd name="connsiteY1" fmla="*/ 293188 h 7876611"/>
              <a:gd name="connsiteX2" fmla="*/ 3104547 w 4866425"/>
              <a:gd name="connsiteY2" fmla="*/ 298130 h 7876611"/>
              <a:gd name="connsiteX3" fmla="*/ 4864272 w 4866425"/>
              <a:gd name="connsiteY3" fmla="*/ 3642208 h 7876611"/>
              <a:gd name="connsiteX4" fmla="*/ 2749182 w 4866425"/>
              <a:gd name="connsiteY4" fmla="*/ 7185508 h 7876611"/>
              <a:gd name="connsiteX5" fmla="*/ 190287 w 4866425"/>
              <a:gd name="connsiteY5" fmla="*/ 7183318 h 7876611"/>
              <a:gd name="connsiteX0" fmla="*/ 190287 w 4866425"/>
              <a:gd name="connsiteY0" fmla="*/ 7154743 h 7859802"/>
              <a:gd name="connsiteX1" fmla="*/ 188032 w 4866425"/>
              <a:gd name="connsiteY1" fmla="*/ 293188 h 7859802"/>
              <a:gd name="connsiteX2" fmla="*/ 3104547 w 4866425"/>
              <a:gd name="connsiteY2" fmla="*/ 298130 h 7859802"/>
              <a:gd name="connsiteX3" fmla="*/ 4864272 w 4866425"/>
              <a:gd name="connsiteY3" fmla="*/ 3642208 h 7859802"/>
              <a:gd name="connsiteX4" fmla="*/ 2749182 w 4866425"/>
              <a:gd name="connsiteY4" fmla="*/ 7185508 h 7859802"/>
              <a:gd name="connsiteX5" fmla="*/ 190287 w 4866425"/>
              <a:gd name="connsiteY5" fmla="*/ 7154743 h 7859802"/>
              <a:gd name="connsiteX0" fmla="*/ 2255 w 4678393"/>
              <a:gd name="connsiteY0" fmla="*/ 7154743 h 7872894"/>
              <a:gd name="connsiteX1" fmla="*/ 0 w 4678393"/>
              <a:gd name="connsiteY1" fmla="*/ 293188 h 7872894"/>
              <a:gd name="connsiteX2" fmla="*/ 2916515 w 4678393"/>
              <a:gd name="connsiteY2" fmla="*/ 298130 h 7872894"/>
              <a:gd name="connsiteX3" fmla="*/ 4676240 w 4678393"/>
              <a:gd name="connsiteY3" fmla="*/ 3642208 h 7872894"/>
              <a:gd name="connsiteX4" fmla="*/ 2561150 w 4678393"/>
              <a:gd name="connsiteY4" fmla="*/ 7185508 h 7872894"/>
              <a:gd name="connsiteX5" fmla="*/ 2255 w 4678393"/>
              <a:gd name="connsiteY5" fmla="*/ 7154743 h 7872894"/>
              <a:gd name="connsiteX0" fmla="*/ 2822 w 4678960"/>
              <a:gd name="connsiteY0" fmla="*/ 7154743 h 7874206"/>
              <a:gd name="connsiteX1" fmla="*/ 567 w 4678960"/>
              <a:gd name="connsiteY1" fmla="*/ 293188 h 7874206"/>
              <a:gd name="connsiteX2" fmla="*/ 2917082 w 4678960"/>
              <a:gd name="connsiteY2" fmla="*/ 298130 h 7874206"/>
              <a:gd name="connsiteX3" fmla="*/ 4676807 w 4678960"/>
              <a:gd name="connsiteY3" fmla="*/ 3642208 h 7874206"/>
              <a:gd name="connsiteX4" fmla="*/ 2561717 w 4678960"/>
              <a:gd name="connsiteY4" fmla="*/ 7185508 h 7874206"/>
              <a:gd name="connsiteX5" fmla="*/ 2822 w 4678960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473936"/>
              <a:gd name="connsiteX1" fmla="*/ 0 w 4678393"/>
              <a:gd name="connsiteY1" fmla="*/ 293188 h 7473936"/>
              <a:gd name="connsiteX2" fmla="*/ 2916515 w 4678393"/>
              <a:gd name="connsiteY2" fmla="*/ 298130 h 7473936"/>
              <a:gd name="connsiteX3" fmla="*/ 4676240 w 4678393"/>
              <a:gd name="connsiteY3" fmla="*/ 3642208 h 7473936"/>
              <a:gd name="connsiteX4" fmla="*/ 2561150 w 4678393"/>
              <a:gd name="connsiteY4" fmla="*/ 7185508 h 7473936"/>
              <a:gd name="connsiteX5" fmla="*/ 2255 w 4678393"/>
              <a:gd name="connsiteY5" fmla="*/ 7154743 h 7473936"/>
              <a:gd name="connsiteX0" fmla="*/ 2255 w 4678393"/>
              <a:gd name="connsiteY0" fmla="*/ 7154743 h 7450206"/>
              <a:gd name="connsiteX1" fmla="*/ 0 w 4678393"/>
              <a:gd name="connsiteY1" fmla="*/ 293188 h 7450206"/>
              <a:gd name="connsiteX2" fmla="*/ 2916515 w 4678393"/>
              <a:gd name="connsiteY2" fmla="*/ 298130 h 7450206"/>
              <a:gd name="connsiteX3" fmla="*/ 4676240 w 4678393"/>
              <a:gd name="connsiteY3" fmla="*/ 3642208 h 7450206"/>
              <a:gd name="connsiteX4" fmla="*/ 2564325 w 4678393"/>
              <a:gd name="connsiteY4" fmla="*/ 7153758 h 7450206"/>
              <a:gd name="connsiteX5" fmla="*/ 2255 w 4678393"/>
              <a:gd name="connsiteY5" fmla="*/ 7154743 h 7450206"/>
              <a:gd name="connsiteX0" fmla="*/ 2255 w 4678393"/>
              <a:gd name="connsiteY0" fmla="*/ 7154743 h 7154743"/>
              <a:gd name="connsiteX1" fmla="*/ 0 w 4678393"/>
              <a:gd name="connsiteY1" fmla="*/ 293188 h 7154743"/>
              <a:gd name="connsiteX2" fmla="*/ 2916515 w 4678393"/>
              <a:gd name="connsiteY2" fmla="*/ 298130 h 7154743"/>
              <a:gd name="connsiteX3" fmla="*/ 4676240 w 4678393"/>
              <a:gd name="connsiteY3" fmla="*/ 3642208 h 7154743"/>
              <a:gd name="connsiteX4" fmla="*/ 2564325 w 4678393"/>
              <a:gd name="connsiteY4" fmla="*/ 7153758 h 7154743"/>
              <a:gd name="connsiteX5" fmla="*/ 2255 w 4678393"/>
              <a:gd name="connsiteY5" fmla="*/ 7154743 h 7154743"/>
              <a:gd name="connsiteX0" fmla="*/ 2255 w 4678393"/>
              <a:gd name="connsiteY0" fmla="*/ 6861555 h 6861555"/>
              <a:gd name="connsiteX1" fmla="*/ 0 w 4678393"/>
              <a:gd name="connsiteY1" fmla="*/ 0 h 6861555"/>
              <a:gd name="connsiteX2" fmla="*/ 2916515 w 4678393"/>
              <a:gd name="connsiteY2" fmla="*/ 4942 h 6861555"/>
              <a:gd name="connsiteX3" fmla="*/ 4676240 w 4678393"/>
              <a:gd name="connsiteY3" fmla="*/ 3349020 h 6861555"/>
              <a:gd name="connsiteX4" fmla="*/ 2564325 w 4678393"/>
              <a:gd name="connsiteY4" fmla="*/ 6860570 h 6861555"/>
              <a:gd name="connsiteX5" fmla="*/ 2255 w 4678393"/>
              <a:gd name="connsiteY5" fmla="*/ 6861555 h 6861555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9009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8377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3061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71578"/>
              <a:gd name="connsiteX1" fmla="*/ 0 w 4678399"/>
              <a:gd name="connsiteY1" fmla="*/ 1408 h 6871578"/>
              <a:gd name="connsiteX2" fmla="*/ 2919690 w 4678399"/>
              <a:gd name="connsiteY2" fmla="*/ 0 h 6871578"/>
              <a:gd name="connsiteX3" fmla="*/ 4676240 w 4678399"/>
              <a:gd name="connsiteY3" fmla="*/ 3350428 h 6871578"/>
              <a:gd name="connsiteX4" fmla="*/ 2521796 w 4678399"/>
              <a:gd name="connsiteY4" fmla="*/ 6871578 h 6871578"/>
              <a:gd name="connsiteX5" fmla="*/ 2255 w 4678399"/>
              <a:gd name="connsiteY5" fmla="*/ 6862963 h 6871578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6240" h="6862963">
                <a:moveTo>
                  <a:pt x="2255" y="6862963"/>
                </a:moveTo>
                <a:cubicBezTo>
                  <a:pt x="847" y="5679318"/>
                  <a:pt x="65" y="1117189"/>
                  <a:pt x="0" y="1408"/>
                </a:cubicBezTo>
                <a:lnTo>
                  <a:pt x="2919690" y="0"/>
                </a:lnTo>
                <a:cubicBezTo>
                  <a:pt x="3347209" y="321191"/>
                  <a:pt x="4644479" y="1245147"/>
                  <a:pt x="4676240" y="3350428"/>
                </a:cubicBezTo>
                <a:cubicBezTo>
                  <a:pt x="4625578" y="5097946"/>
                  <a:pt x="3667890" y="6255680"/>
                  <a:pt x="2516480" y="6860945"/>
                </a:cubicBezTo>
                <a:lnTo>
                  <a:pt x="2255" y="6862963"/>
                </a:lnTo>
                <a:close/>
              </a:path>
            </a:pathLst>
          </a:custGeom>
          <a:ln>
            <a:noFill/>
          </a:ln>
          <a:extLst>
            <a:ext uri="{91240B29-F687-4f45-9708-019B960494DF}"/>
          </a:extLst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096676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65325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3" descr="white_dots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37585" y="3175"/>
            <a:ext cx="11049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32"/>
          <p:cNvSpPr>
            <a:spLocks noGrp="1"/>
          </p:cNvSpPr>
          <p:nvPr>
            <p:ph type="title"/>
          </p:nvPr>
        </p:nvSpPr>
        <p:spPr>
          <a:xfrm>
            <a:off x="1972733" y="2152650"/>
            <a:ext cx="9558867" cy="2552700"/>
          </a:xfrm>
          <a:prstGeom prst="rect">
            <a:avLst/>
          </a:prstGeom>
        </p:spPr>
        <p:txBody>
          <a:bodyPr vert="horz" anchor="ctr"/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57768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81000" y="1601788"/>
            <a:ext cx="11430000" cy="4525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44881208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rgbClr val="0C0C0C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789884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rgbClr val="0C0C0C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rgbClr val="0C0C0C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rgbClr val="0C0C0C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F9D744F-A08B-5145-BBEA-D42E6BD319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" y="1533600"/>
            <a:ext cx="4430684" cy="44306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4461202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 bwMode="ltGray">
          <a:xfrm>
            <a:off x="0" y="-9254"/>
            <a:ext cx="4672584" cy="6867254"/>
          </a:xfrm>
          <a:custGeom>
            <a:avLst/>
            <a:gdLst>
              <a:gd name="connsiteX0" fmla="*/ 0 w 8001000"/>
              <a:gd name="connsiteY0" fmla="*/ 4000500 h 8001000"/>
              <a:gd name="connsiteX1" fmla="*/ 4000500 w 8001000"/>
              <a:gd name="connsiteY1" fmla="*/ 0 h 8001000"/>
              <a:gd name="connsiteX2" fmla="*/ 8001000 w 8001000"/>
              <a:gd name="connsiteY2" fmla="*/ 4000500 h 8001000"/>
              <a:gd name="connsiteX3" fmla="*/ 4000500 w 8001000"/>
              <a:gd name="connsiteY3" fmla="*/ 8001000 h 8001000"/>
              <a:gd name="connsiteX4" fmla="*/ 0 w 8001000"/>
              <a:gd name="connsiteY4" fmla="*/ 4000500 h 8001000"/>
              <a:gd name="connsiteX0" fmla="*/ 0 w 8060683"/>
              <a:gd name="connsiteY0" fmla="*/ 4222799 h 8223299"/>
              <a:gd name="connsiteX1" fmla="*/ 4000500 w 8060683"/>
              <a:gd name="connsiteY1" fmla="*/ 222299 h 8223299"/>
              <a:gd name="connsiteX2" fmla="*/ 6237602 w 8060683"/>
              <a:gd name="connsiteY2" fmla="*/ 908099 h 8223299"/>
              <a:gd name="connsiteX3" fmla="*/ 8001000 w 8060683"/>
              <a:gd name="connsiteY3" fmla="*/ 4222799 h 8223299"/>
              <a:gd name="connsiteX4" fmla="*/ 4000500 w 8060683"/>
              <a:gd name="connsiteY4" fmla="*/ 8223299 h 8223299"/>
              <a:gd name="connsiteX5" fmla="*/ 0 w 8060683"/>
              <a:gd name="connsiteY5" fmla="*/ 4222799 h 8223299"/>
              <a:gd name="connsiteX0" fmla="*/ 8055 w 8068738"/>
              <a:gd name="connsiteY0" fmla="*/ 3760842 h 7761342"/>
              <a:gd name="connsiteX1" fmla="*/ 3296378 w 8068738"/>
              <a:gd name="connsiteY1" fmla="*/ 472519 h 7761342"/>
              <a:gd name="connsiteX2" fmla="*/ 6245657 w 8068738"/>
              <a:gd name="connsiteY2" fmla="*/ 446142 h 7761342"/>
              <a:gd name="connsiteX3" fmla="*/ 8009055 w 8068738"/>
              <a:gd name="connsiteY3" fmla="*/ 3760842 h 7761342"/>
              <a:gd name="connsiteX4" fmla="*/ 4008555 w 8068738"/>
              <a:gd name="connsiteY4" fmla="*/ 7761342 h 7761342"/>
              <a:gd name="connsiteX5" fmla="*/ 8055 w 8068738"/>
              <a:gd name="connsiteY5" fmla="*/ 3760842 h 7761342"/>
              <a:gd name="connsiteX0" fmla="*/ 6123 w 8066806"/>
              <a:gd name="connsiteY0" fmla="*/ 3768834 h 7769334"/>
              <a:gd name="connsiteX1" fmla="*/ 3373577 w 8066806"/>
              <a:gd name="connsiteY1" fmla="*/ 462926 h 7769334"/>
              <a:gd name="connsiteX2" fmla="*/ 6243725 w 8066806"/>
              <a:gd name="connsiteY2" fmla="*/ 454134 h 7769334"/>
              <a:gd name="connsiteX3" fmla="*/ 8007123 w 8066806"/>
              <a:gd name="connsiteY3" fmla="*/ 3768834 h 7769334"/>
              <a:gd name="connsiteX4" fmla="*/ 4006623 w 8066806"/>
              <a:gd name="connsiteY4" fmla="*/ 7769334 h 7769334"/>
              <a:gd name="connsiteX5" fmla="*/ 6123 w 8066806"/>
              <a:gd name="connsiteY5" fmla="*/ 3768834 h 7769334"/>
              <a:gd name="connsiteX0" fmla="*/ 6939 w 8067622"/>
              <a:gd name="connsiteY0" fmla="*/ 3768834 h 7769334"/>
              <a:gd name="connsiteX1" fmla="*/ 3339224 w 8067622"/>
              <a:gd name="connsiteY1" fmla="*/ 462926 h 7769334"/>
              <a:gd name="connsiteX2" fmla="*/ 6244541 w 8067622"/>
              <a:gd name="connsiteY2" fmla="*/ 454134 h 7769334"/>
              <a:gd name="connsiteX3" fmla="*/ 8007939 w 8067622"/>
              <a:gd name="connsiteY3" fmla="*/ 3768834 h 7769334"/>
              <a:gd name="connsiteX4" fmla="*/ 4007439 w 8067622"/>
              <a:gd name="connsiteY4" fmla="*/ 7769334 h 7769334"/>
              <a:gd name="connsiteX5" fmla="*/ 6939 w 8067622"/>
              <a:gd name="connsiteY5" fmla="*/ 3768834 h 7769334"/>
              <a:gd name="connsiteX0" fmla="*/ 6939 w 8010086"/>
              <a:gd name="connsiteY0" fmla="*/ 3768834 h 7984710"/>
              <a:gd name="connsiteX1" fmla="*/ 3339224 w 8010086"/>
              <a:gd name="connsiteY1" fmla="*/ 462926 h 7984710"/>
              <a:gd name="connsiteX2" fmla="*/ 6244541 w 8010086"/>
              <a:gd name="connsiteY2" fmla="*/ 454134 h 7984710"/>
              <a:gd name="connsiteX3" fmla="*/ 8007939 w 8010086"/>
              <a:gd name="connsiteY3" fmla="*/ 3768834 h 7984710"/>
              <a:gd name="connsiteX4" fmla="*/ 5892849 w 8010086"/>
              <a:gd name="connsiteY4" fmla="*/ 7057157 h 7984710"/>
              <a:gd name="connsiteX5" fmla="*/ 4007439 w 8010086"/>
              <a:gd name="connsiteY5" fmla="*/ 7769334 h 7984710"/>
              <a:gd name="connsiteX6" fmla="*/ 6939 w 8010086"/>
              <a:gd name="connsiteY6" fmla="*/ 3768834 h 7984710"/>
              <a:gd name="connsiteX0" fmla="*/ 6939 w 8010086"/>
              <a:gd name="connsiteY0" fmla="*/ 3768834 h 8061801"/>
              <a:gd name="connsiteX1" fmla="*/ 3339224 w 8010086"/>
              <a:gd name="connsiteY1" fmla="*/ 462926 h 8061801"/>
              <a:gd name="connsiteX2" fmla="*/ 6244541 w 8010086"/>
              <a:gd name="connsiteY2" fmla="*/ 454134 h 8061801"/>
              <a:gd name="connsiteX3" fmla="*/ 8007939 w 8010086"/>
              <a:gd name="connsiteY3" fmla="*/ 3768834 h 8061801"/>
              <a:gd name="connsiteX4" fmla="*/ 5892849 w 8010086"/>
              <a:gd name="connsiteY4" fmla="*/ 7312134 h 8061801"/>
              <a:gd name="connsiteX5" fmla="*/ 4007439 w 8010086"/>
              <a:gd name="connsiteY5" fmla="*/ 7769334 h 8061801"/>
              <a:gd name="connsiteX6" fmla="*/ 6939 w 8010086"/>
              <a:gd name="connsiteY6" fmla="*/ 3768834 h 8061801"/>
              <a:gd name="connsiteX0" fmla="*/ 6 w 8003153"/>
              <a:gd name="connsiteY0" fmla="*/ 3768834 h 7779879"/>
              <a:gd name="connsiteX1" fmla="*/ 3332291 w 8003153"/>
              <a:gd name="connsiteY1" fmla="*/ 462926 h 7779879"/>
              <a:gd name="connsiteX2" fmla="*/ 6237608 w 8003153"/>
              <a:gd name="connsiteY2" fmla="*/ 454134 h 7779879"/>
              <a:gd name="connsiteX3" fmla="*/ 8001006 w 8003153"/>
              <a:gd name="connsiteY3" fmla="*/ 3768834 h 7779879"/>
              <a:gd name="connsiteX4" fmla="*/ 5885916 w 8003153"/>
              <a:gd name="connsiteY4" fmla="*/ 7312134 h 7779879"/>
              <a:gd name="connsiteX5" fmla="*/ 3349875 w 8003153"/>
              <a:gd name="connsiteY5" fmla="*/ 7303342 h 7779879"/>
              <a:gd name="connsiteX6" fmla="*/ 6 w 8003153"/>
              <a:gd name="connsiteY6" fmla="*/ 3768834 h 7779879"/>
              <a:gd name="connsiteX0" fmla="*/ 3 w 8003150"/>
              <a:gd name="connsiteY0" fmla="*/ 3768834 h 7775751"/>
              <a:gd name="connsiteX1" fmla="*/ 3332288 w 8003150"/>
              <a:gd name="connsiteY1" fmla="*/ 462926 h 7775751"/>
              <a:gd name="connsiteX2" fmla="*/ 6237605 w 8003150"/>
              <a:gd name="connsiteY2" fmla="*/ 454134 h 7775751"/>
              <a:gd name="connsiteX3" fmla="*/ 8001003 w 8003150"/>
              <a:gd name="connsiteY3" fmla="*/ 3768834 h 7775751"/>
              <a:gd name="connsiteX4" fmla="*/ 5885913 w 8003150"/>
              <a:gd name="connsiteY4" fmla="*/ 7312134 h 7775751"/>
              <a:gd name="connsiteX5" fmla="*/ 3314702 w 8003150"/>
              <a:gd name="connsiteY5" fmla="*/ 7294550 h 7775751"/>
              <a:gd name="connsiteX6" fmla="*/ 3 w 8003150"/>
              <a:gd name="connsiteY6" fmla="*/ 3768834 h 77757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35777 h 7832403"/>
              <a:gd name="connsiteX1" fmla="*/ 664079 w 5334941"/>
              <a:gd name="connsiteY1" fmla="*/ 304153 h 7832403"/>
              <a:gd name="connsiteX2" fmla="*/ 3569396 w 5334941"/>
              <a:gd name="connsiteY2" fmla="*/ 295361 h 7832403"/>
              <a:gd name="connsiteX3" fmla="*/ 5332794 w 5334941"/>
              <a:gd name="connsiteY3" fmla="*/ 3610061 h 7832403"/>
              <a:gd name="connsiteX4" fmla="*/ 3217704 w 5334941"/>
              <a:gd name="connsiteY4" fmla="*/ 7153361 h 7832403"/>
              <a:gd name="connsiteX5" fmla="*/ 646493 w 5334941"/>
              <a:gd name="connsiteY5" fmla="*/ 7135777 h 7832403"/>
              <a:gd name="connsiteX0" fmla="*/ 182720 w 4871168"/>
              <a:gd name="connsiteY0" fmla="*/ 7135777 h 7832403"/>
              <a:gd name="connsiteX1" fmla="*/ 200306 w 4871168"/>
              <a:gd name="connsiteY1" fmla="*/ 304153 h 7832403"/>
              <a:gd name="connsiteX2" fmla="*/ 3105623 w 4871168"/>
              <a:gd name="connsiteY2" fmla="*/ 295361 h 7832403"/>
              <a:gd name="connsiteX3" fmla="*/ 4869021 w 4871168"/>
              <a:gd name="connsiteY3" fmla="*/ 3610061 h 7832403"/>
              <a:gd name="connsiteX4" fmla="*/ 2753931 w 4871168"/>
              <a:gd name="connsiteY4" fmla="*/ 7153361 h 7832403"/>
              <a:gd name="connsiteX5" fmla="*/ 182720 w 4871168"/>
              <a:gd name="connsiteY5" fmla="*/ 7135777 h 7832403"/>
              <a:gd name="connsiteX0" fmla="*/ 182720 w 4871168"/>
              <a:gd name="connsiteY0" fmla="*/ 7124471 h 7821097"/>
              <a:gd name="connsiteX1" fmla="*/ 200306 w 4871168"/>
              <a:gd name="connsiteY1" fmla="*/ 292847 h 7821097"/>
              <a:gd name="connsiteX2" fmla="*/ 3105623 w 4871168"/>
              <a:gd name="connsiteY2" fmla="*/ 284055 h 7821097"/>
              <a:gd name="connsiteX3" fmla="*/ 4869021 w 4871168"/>
              <a:gd name="connsiteY3" fmla="*/ 3598755 h 7821097"/>
              <a:gd name="connsiteX4" fmla="*/ 2753931 w 4871168"/>
              <a:gd name="connsiteY4" fmla="*/ 7142055 h 7821097"/>
              <a:gd name="connsiteX5" fmla="*/ 182720 w 4871168"/>
              <a:gd name="connsiteY5" fmla="*/ 7124471 h 7821097"/>
              <a:gd name="connsiteX0" fmla="*/ 182720 w 4871168"/>
              <a:gd name="connsiteY0" fmla="*/ 7133321 h 7829947"/>
              <a:gd name="connsiteX1" fmla="*/ 200306 w 4871168"/>
              <a:gd name="connsiteY1" fmla="*/ 301697 h 7829947"/>
              <a:gd name="connsiteX2" fmla="*/ 3105623 w 4871168"/>
              <a:gd name="connsiteY2" fmla="*/ 292905 h 7829947"/>
              <a:gd name="connsiteX3" fmla="*/ 4869021 w 4871168"/>
              <a:gd name="connsiteY3" fmla="*/ 3607605 h 7829947"/>
              <a:gd name="connsiteX4" fmla="*/ 2753931 w 4871168"/>
              <a:gd name="connsiteY4" fmla="*/ 7150905 h 7829947"/>
              <a:gd name="connsiteX5" fmla="*/ 182720 w 4871168"/>
              <a:gd name="connsiteY5" fmla="*/ 7133321 h 7829947"/>
              <a:gd name="connsiteX0" fmla="*/ 186720 w 4875168"/>
              <a:gd name="connsiteY0" fmla="*/ 7137599 h 7835370"/>
              <a:gd name="connsiteX1" fmla="*/ 191837 w 4875168"/>
              <a:gd name="connsiteY1" fmla="*/ 289350 h 7835370"/>
              <a:gd name="connsiteX2" fmla="*/ 3109623 w 4875168"/>
              <a:gd name="connsiteY2" fmla="*/ 297183 h 7835370"/>
              <a:gd name="connsiteX3" fmla="*/ 4873021 w 4875168"/>
              <a:gd name="connsiteY3" fmla="*/ 3611883 h 7835370"/>
              <a:gd name="connsiteX4" fmla="*/ 2757931 w 4875168"/>
              <a:gd name="connsiteY4" fmla="*/ 7155183 h 7835370"/>
              <a:gd name="connsiteX5" fmla="*/ 186720 w 4875168"/>
              <a:gd name="connsiteY5" fmla="*/ 7137599 h 7835370"/>
              <a:gd name="connsiteX0" fmla="*/ 171307 w 4859755"/>
              <a:gd name="connsiteY0" fmla="*/ 7112714 h 7803338"/>
              <a:gd name="connsiteX1" fmla="*/ 226300 w 4859755"/>
              <a:gd name="connsiteY1" fmla="*/ 368374 h 7803338"/>
              <a:gd name="connsiteX2" fmla="*/ 3094210 w 4859755"/>
              <a:gd name="connsiteY2" fmla="*/ 272298 h 7803338"/>
              <a:gd name="connsiteX3" fmla="*/ 4857608 w 4859755"/>
              <a:gd name="connsiteY3" fmla="*/ 3586998 h 7803338"/>
              <a:gd name="connsiteX4" fmla="*/ 2742518 w 4859755"/>
              <a:gd name="connsiteY4" fmla="*/ 7130298 h 7803338"/>
              <a:gd name="connsiteX5" fmla="*/ 171307 w 4859755"/>
              <a:gd name="connsiteY5" fmla="*/ 7112714 h 7803338"/>
              <a:gd name="connsiteX0" fmla="*/ 184041 w 4872489"/>
              <a:gd name="connsiteY0" fmla="*/ 7134379 h 7831291"/>
              <a:gd name="connsiteX1" fmla="*/ 197470 w 4872489"/>
              <a:gd name="connsiteY1" fmla="*/ 298599 h 7831291"/>
              <a:gd name="connsiteX2" fmla="*/ 3106944 w 4872489"/>
              <a:gd name="connsiteY2" fmla="*/ 293963 h 7831291"/>
              <a:gd name="connsiteX3" fmla="*/ 4870342 w 4872489"/>
              <a:gd name="connsiteY3" fmla="*/ 3608663 h 7831291"/>
              <a:gd name="connsiteX4" fmla="*/ 2755252 w 4872489"/>
              <a:gd name="connsiteY4" fmla="*/ 7151963 h 7831291"/>
              <a:gd name="connsiteX5" fmla="*/ 184041 w 4872489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9716 w 4868927"/>
              <a:gd name="connsiteY0" fmla="*/ 7152851 h 7842196"/>
              <a:gd name="connsiteX1" fmla="*/ 193908 w 4868927"/>
              <a:gd name="connsiteY1" fmla="*/ 298599 h 7842196"/>
              <a:gd name="connsiteX2" fmla="*/ 3103382 w 4868927"/>
              <a:gd name="connsiteY2" fmla="*/ 293963 h 7842196"/>
              <a:gd name="connsiteX3" fmla="*/ 4866780 w 4868927"/>
              <a:gd name="connsiteY3" fmla="*/ 3608663 h 7842196"/>
              <a:gd name="connsiteX4" fmla="*/ 2751690 w 4868927"/>
              <a:gd name="connsiteY4" fmla="*/ 7151963 h 7842196"/>
              <a:gd name="connsiteX5" fmla="*/ 189716 w 4868927"/>
              <a:gd name="connsiteY5" fmla="*/ 7152851 h 7842196"/>
              <a:gd name="connsiteX0" fmla="*/ 2 w 4679213"/>
              <a:gd name="connsiteY0" fmla="*/ 7152851 h 7447842"/>
              <a:gd name="connsiteX1" fmla="*/ 4194 w 4679213"/>
              <a:gd name="connsiteY1" fmla="*/ 298599 h 7447842"/>
              <a:gd name="connsiteX2" fmla="*/ 2913668 w 4679213"/>
              <a:gd name="connsiteY2" fmla="*/ 293963 h 7447842"/>
              <a:gd name="connsiteX3" fmla="*/ 4677066 w 4679213"/>
              <a:gd name="connsiteY3" fmla="*/ 3608663 h 7447842"/>
              <a:gd name="connsiteX4" fmla="*/ 2561976 w 4679213"/>
              <a:gd name="connsiteY4" fmla="*/ 7151963 h 7447842"/>
              <a:gd name="connsiteX5" fmla="*/ 2 w 4679213"/>
              <a:gd name="connsiteY5" fmla="*/ 7152851 h 7447842"/>
              <a:gd name="connsiteX0" fmla="*/ 232986 w 4675130"/>
              <a:gd name="connsiteY0" fmla="*/ 7082039 h 7430577"/>
              <a:gd name="connsiteX1" fmla="*/ 111 w 4675130"/>
              <a:gd name="connsiteY1" fmla="*/ 298599 h 7430577"/>
              <a:gd name="connsiteX2" fmla="*/ 2909585 w 4675130"/>
              <a:gd name="connsiteY2" fmla="*/ 293963 h 7430577"/>
              <a:gd name="connsiteX3" fmla="*/ 4672983 w 4675130"/>
              <a:gd name="connsiteY3" fmla="*/ 3608663 h 7430577"/>
              <a:gd name="connsiteX4" fmla="*/ 2557893 w 4675130"/>
              <a:gd name="connsiteY4" fmla="*/ 7151963 h 7430577"/>
              <a:gd name="connsiteX5" fmla="*/ 232986 w 4675130"/>
              <a:gd name="connsiteY5" fmla="*/ 7082039 h 7430577"/>
              <a:gd name="connsiteX0" fmla="*/ 1481 w 4677613"/>
              <a:gd name="connsiteY0" fmla="*/ 7149773 h 7447048"/>
              <a:gd name="connsiteX1" fmla="*/ 2594 w 4677613"/>
              <a:gd name="connsiteY1" fmla="*/ 298599 h 7447048"/>
              <a:gd name="connsiteX2" fmla="*/ 2912068 w 4677613"/>
              <a:gd name="connsiteY2" fmla="*/ 293963 h 7447048"/>
              <a:gd name="connsiteX3" fmla="*/ 4675466 w 4677613"/>
              <a:gd name="connsiteY3" fmla="*/ 3608663 h 7447048"/>
              <a:gd name="connsiteX4" fmla="*/ 2560376 w 4677613"/>
              <a:gd name="connsiteY4" fmla="*/ 7151963 h 7447048"/>
              <a:gd name="connsiteX5" fmla="*/ 1481 w 4677613"/>
              <a:gd name="connsiteY5" fmla="*/ 7149773 h 7447048"/>
              <a:gd name="connsiteX0" fmla="*/ 165734 w 4841866"/>
              <a:gd name="connsiteY0" fmla="*/ 7139154 h 7826771"/>
              <a:gd name="connsiteX1" fmla="*/ 246896 w 4841866"/>
              <a:gd name="connsiteY1" fmla="*/ 331083 h 7826771"/>
              <a:gd name="connsiteX2" fmla="*/ 3076321 w 4841866"/>
              <a:gd name="connsiteY2" fmla="*/ 283344 h 7826771"/>
              <a:gd name="connsiteX3" fmla="*/ 4839719 w 4841866"/>
              <a:gd name="connsiteY3" fmla="*/ 3598044 h 7826771"/>
              <a:gd name="connsiteX4" fmla="*/ 2724629 w 4841866"/>
              <a:gd name="connsiteY4" fmla="*/ 7141344 h 7826771"/>
              <a:gd name="connsiteX5" fmla="*/ 165734 w 4841866"/>
              <a:gd name="connsiteY5" fmla="*/ 7139154 h 7826771"/>
              <a:gd name="connsiteX0" fmla="*/ 192597 w 4868729"/>
              <a:gd name="connsiteY0" fmla="*/ 7111990 h 7790893"/>
              <a:gd name="connsiteX1" fmla="*/ 187553 w 4868729"/>
              <a:gd name="connsiteY1" fmla="*/ 430149 h 7790893"/>
              <a:gd name="connsiteX2" fmla="*/ 3103184 w 4868729"/>
              <a:gd name="connsiteY2" fmla="*/ 256180 h 7790893"/>
              <a:gd name="connsiteX3" fmla="*/ 4866582 w 4868729"/>
              <a:gd name="connsiteY3" fmla="*/ 3570880 h 7790893"/>
              <a:gd name="connsiteX4" fmla="*/ 2751492 w 4868729"/>
              <a:gd name="connsiteY4" fmla="*/ 7114180 h 7790893"/>
              <a:gd name="connsiteX5" fmla="*/ 192597 w 4868729"/>
              <a:gd name="connsiteY5" fmla="*/ 7111990 h 7790893"/>
              <a:gd name="connsiteX0" fmla="*/ 135176 w 4811308"/>
              <a:gd name="connsiteY0" fmla="*/ 7105556 h 7782125"/>
              <a:gd name="connsiteX1" fmla="*/ 336411 w 4811308"/>
              <a:gd name="connsiteY1" fmla="*/ 457582 h 7782125"/>
              <a:gd name="connsiteX2" fmla="*/ 3045763 w 4811308"/>
              <a:gd name="connsiteY2" fmla="*/ 249746 h 7782125"/>
              <a:gd name="connsiteX3" fmla="*/ 4809161 w 4811308"/>
              <a:gd name="connsiteY3" fmla="*/ 3564446 h 7782125"/>
              <a:gd name="connsiteX4" fmla="*/ 2694071 w 4811308"/>
              <a:gd name="connsiteY4" fmla="*/ 7107746 h 7782125"/>
              <a:gd name="connsiteX5" fmla="*/ 135176 w 4811308"/>
              <a:gd name="connsiteY5" fmla="*/ 7105556 h 7782125"/>
              <a:gd name="connsiteX0" fmla="*/ 157213 w 4833345"/>
              <a:gd name="connsiteY0" fmla="*/ 7115639 h 7795816"/>
              <a:gd name="connsiteX1" fmla="*/ 269163 w 4833345"/>
              <a:gd name="connsiteY1" fmla="*/ 415325 h 7795816"/>
              <a:gd name="connsiteX2" fmla="*/ 3067800 w 4833345"/>
              <a:gd name="connsiteY2" fmla="*/ 259829 h 7795816"/>
              <a:gd name="connsiteX3" fmla="*/ 4831198 w 4833345"/>
              <a:gd name="connsiteY3" fmla="*/ 3574529 h 7795816"/>
              <a:gd name="connsiteX4" fmla="*/ 2716108 w 4833345"/>
              <a:gd name="connsiteY4" fmla="*/ 7117829 h 7795816"/>
              <a:gd name="connsiteX5" fmla="*/ 157213 w 4833345"/>
              <a:gd name="connsiteY5" fmla="*/ 7115639 h 7795816"/>
              <a:gd name="connsiteX0" fmla="*/ 156353 w 4832485"/>
              <a:gd name="connsiteY0" fmla="*/ 7115639 h 7795816"/>
              <a:gd name="connsiteX1" fmla="*/ 268303 w 4832485"/>
              <a:gd name="connsiteY1" fmla="*/ 415325 h 7795816"/>
              <a:gd name="connsiteX2" fmla="*/ 3066940 w 4832485"/>
              <a:gd name="connsiteY2" fmla="*/ 259829 h 7795816"/>
              <a:gd name="connsiteX3" fmla="*/ 4830338 w 4832485"/>
              <a:gd name="connsiteY3" fmla="*/ 3574529 h 7795816"/>
              <a:gd name="connsiteX4" fmla="*/ 2715248 w 4832485"/>
              <a:gd name="connsiteY4" fmla="*/ 7117829 h 7795816"/>
              <a:gd name="connsiteX5" fmla="*/ 156353 w 4832485"/>
              <a:gd name="connsiteY5" fmla="*/ 7115639 h 7795816"/>
              <a:gd name="connsiteX0" fmla="*/ 162218 w 4838350"/>
              <a:gd name="connsiteY0" fmla="*/ 7153758 h 7845421"/>
              <a:gd name="connsiteX1" fmla="*/ 252617 w 4838350"/>
              <a:gd name="connsiteY1" fmla="*/ 287189 h 7845421"/>
              <a:gd name="connsiteX2" fmla="*/ 3072805 w 4838350"/>
              <a:gd name="connsiteY2" fmla="*/ 297948 h 7845421"/>
              <a:gd name="connsiteX3" fmla="*/ 4836203 w 4838350"/>
              <a:gd name="connsiteY3" fmla="*/ 3612648 h 7845421"/>
              <a:gd name="connsiteX4" fmla="*/ 2721113 w 4838350"/>
              <a:gd name="connsiteY4" fmla="*/ 7155948 h 7845421"/>
              <a:gd name="connsiteX5" fmla="*/ 162218 w 4838350"/>
              <a:gd name="connsiteY5" fmla="*/ 7153758 h 7845421"/>
              <a:gd name="connsiteX0" fmla="*/ 162218 w 4838350"/>
              <a:gd name="connsiteY0" fmla="*/ 7127231 h 7811232"/>
              <a:gd name="connsiteX1" fmla="*/ 252617 w 4838350"/>
              <a:gd name="connsiteY1" fmla="*/ 371498 h 7811232"/>
              <a:gd name="connsiteX2" fmla="*/ 3072805 w 4838350"/>
              <a:gd name="connsiteY2" fmla="*/ 271421 h 7811232"/>
              <a:gd name="connsiteX3" fmla="*/ 4836203 w 4838350"/>
              <a:gd name="connsiteY3" fmla="*/ 3586121 h 7811232"/>
              <a:gd name="connsiteX4" fmla="*/ 2721113 w 4838350"/>
              <a:gd name="connsiteY4" fmla="*/ 7129421 h 7811232"/>
              <a:gd name="connsiteX5" fmla="*/ 162218 w 4838350"/>
              <a:gd name="connsiteY5" fmla="*/ 7127231 h 7811232"/>
              <a:gd name="connsiteX0" fmla="*/ 169100 w 4845232"/>
              <a:gd name="connsiteY0" fmla="*/ 7127237 h 7811238"/>
              <a:gd name="connsiteX1" fmla="*/ 259499 w 4845232"/>
              <a:gd name="connsiteY1" fmla="*/ 371504 h 7811238"/>
              <a:gd name="connsiteX2" fmla="*/ 3079687 w 4845232"/>
              <a:gd name="connsiteY2" fmla="*/ 271427 h 7811238"/>
              <a:gd name="connsiteX3" fmla="*/ 4843085 w 4845232"/>
              <a:gd name="connsiteY3" fmla="*/ 3586127 h 7811238"/>
              <a:gd name="connsiteX4" fmla="*/ 2727995 w 4845232"/>
              <a:gd name="connsiteY4" fmla="*/ 7129427 h 7811238"/>
              <a:gd name="connsiteX5" fmla="*/ 169100 w 4845232"/>
              <a:gd name="connsiteY5" fmla="*/ 7127237 h 7811238"/>
              <a:gd name="connsiteX0" fmla="*/ 219843 w 4895975"/>
              <a:gd name="connsiteY0" fmla="*/ 7118137 h 7799163"/>
              <a:gd name="connsiteX1" fmla="*/ 162460 w 4895975"/>
              <a:gd name="connsiteY1" fmla="*/ 405507 h 7799163"/>
              <a:gd name="connsiteX2" fmla="*/ 3130430 w 4895975"/>
              <a:gd name="connsiteY2" fmla="*/ 262327 h 7799163"/>
              <a:gd name="connsiteX3" fmla="*/ 4893828 w 4895975"/>
              <a:gd name="connsiteY3" fmla="*/ 3577027 h 7799163"/>
              <a:gd name="connsiteX4" fmla="*/ 2778738 w 4895975"/>
              <a:gd name="connsiteY4" fmla="*/ 7120327 h 7799163"/>
              <a:gd name="connsiteX5" fmla="*/ 219843 w 4895975"/>
              <a:gd name="connsiteY5" fmla="*/ 7118137 h 7799163"/>
              <a:gd name="connsiteX0" fmla="*/ 202277 w 4878409"/>
              <a:gd name="connsiteY0" fmla="*/ 7113808 h 7793348"/>
              <a:gd name="connsiteX1" fmla="*/ 191076 w 4878409"/>
              <a:gd name="connsiteY1" fmla="*/ 422730 h 7793348"/>
              <a:gd name="connsiteX2" fmla="*/ 3112864 w 4878409"/>
              <a:gd name="connsiteY2" fmla="*/ 257998 h 7793348"/>
              <a:gd name="connsiteX3" fmla="*/ 4876262 w 4878409"/>
              <a:gd name="connsiteY3" fmla="*/ 3572698 h 7793348"/>
              <a:gd name="connsiteX4" fmla="*/ 2761172 w 4878409"/>
              <a:gd name="connsiteY4" fmla="*/ 7115998 h 7793348"/>
              <a:gd name="connsiteX5" fmla="*/ 202277 w 4878409"/>
              <a:gd name="connsiteY5" fmla="*/ 7113808 h 7793348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85583 w 4761715"/>
              <a:gd name="connsiteY0" fmla="*/ 7107672 h 7785019"/>
              <a:gd name="connsiteX1" fmla="*/ 82333 w 4761715"/>
              <a:gd name="connsiteY1" fmla="*/ 448399 h 7785019"/>
              <a:gd name="connsiteX2" fmla="*/ 2996170 w 4761715"/>
              <a:gd name="connsiteY2" fmla="*/ 251862 h 7785019"/>
              <a:gd name="connsiteX3" fmla="*/ 4759568 w 4761715"/>
              <a:gd name="connsiteY3" fmla="*/ 3566562 h 7785019"/>
              <a:gd name="connsiteX4" fmla="*/ 2644478 w 4761715"/>
              <a:gd name="connsiteY4" fmla="*/ 7109862 h 7785019"/>
              <a:gd name="connsiteX5" fmla="*/ 85583 w 4761715"/>
              <a:gd name="connsiteY5" fmla="*/ 7107672 h 7785019"/>
              <a:gd name="connsiteX0" fmla="*/ 85583 w 4761715"/>
              <a:gd name="connsiteY0" fmla="*/ 7074631 h 7751978"/>
              <a:gd name="connsiteX1" fmla="*/ 82333 w 4761715"/>
              <a:gd name="connsiteY1" fmla="*/ 415358 h 7751978"/>
              <a:gd name="connsiteX2" fmla="*/ 2996170 w 4761715"/>
              <a:gd name="connsiteY2" fmla="*/ 218821 h 7751978"/>
              <a:gd name="connsiteX3" fmla="*/ 4759568 w 4761715"/>
              <a:gd name="connsiteY3" fmla="*/ 3533521 h 7751978"/>
              <a:gd name="connsiteX4" fmla="*/ 2644478 w 4761715"/>
              <a:gd name="connsiteY4" fmla="*/ 7076821 h 7751978"/>
              <a:gd name="connsiteX5" fmla="*/ 85583 w 4761715"/>
              <a:gd name="connsiteY5" fmla="*/ 7074631 h 7751978"/>
              <a:gd name="connsiteX0" fmla="*/ 157610 w 4833742"/>
              <a:gd name="connsiteY0" fmla="*/ 7074631 h 7751978"/>
              <a:gd name="connsiteX1" fmla="*/ 154360 w 4833742"/>
              <a:gd name="connsiteY1" fmla="*/ 415358 h 7751978"/>
              <a:gd name="connsiteX2" fmla="*/ 3068197 w 4833742"/>
              <a:gd name="connsiteY2" fmla="*/ 218821 h 7751978"/>
              <a:gd name="connsiteX3" fmla="*/ 4831595 w 4833742"/>
              <a:gd name="connsiteY3" fmla="*/ 3533521 h 7751978"/>
              <a:gd name="connsiteX4" fmla="*/ 2716505 w 4833742"/>
              <a:gd name="connsiteY4" fmla="*/ 7076821 h 7751978"/>
              <a:gd name="connsiteX5" fmla="*/ 157610 w 4833742"/>
              <a:gd name="connsiteY5" fmla="*/ 7074631 h 7751978"/>
              <a:gd name="connsiteX0" fmla="*/ 345911 w 5022043"/>
              <a:gd name="connsiteY0" fmla="*/ 7098958 h 7776305"/>
              <a:gd name="connsiteX1" fmla="*/ 342661 w 5022043"/>
              <a:gd name="connsiteY1" fmla="*/ 439685 h 7776305"/>
              <a:gd name="connsiteX2" fmla="*/ 3256498 w 5022043"/>
              <a:gd name="connsiteY2" fmla="*/ 243148 h 7776305"/>
              <a:gd name="connsiteX3" fmla="*/ 5019896 w 5022043"/>
              <a:gd name="connsiteY3" fmla="*/ 3557848 h 7776305"/>
              <a:gd name="connsiteX4" fmla="*/ 2904806 w 5022043"/>
              <a:gd name="connsiteY4" fmla="*/ 7101148 h 7776305"/>
              <a:gd name="connsiteX5" fmla="*/ 345911 w 5022043"/>
              <a:gd name="connsiteY5" fmla="*/ 7098958 h 7776305"/>
              <a:gd name="connsiteX0" fmla="*/ 190117 w 4866249"/>
              <a:gd name="connsiteY0" fmla="*/ 7193225 h 7870572"/>
              <a:gd name="connsiteX1" fmla="*/ 186867 w 4866249"/>
              <a:gd name="connsiteY1" fmla="*/ 533952 h 7870572"/>
              <a:gd name="connsiteX2" fmla="*/ 3100704 w 4866249"/>
              <a:gd name="connsiteY2" fmla="*/ 337415 h 7870572"/>
              <a:gd name="connsiteX3" fmla="*/ 4864102 w 4866249"/>
              <a:gd name="connsiteY3" fmla="*/ 3652115 h 7870572"/>
              <a:gd name="connsiteX4" fmla="*/ 2749012 w 4866249"/>
              <a:gd name="connsiteY4" fmla="*/ 7195415 h 7870572"/>
              <a:gd name="connsiteX5" fmla="*/ 190117 w 4866249"/>
              <a:gd name="connsiteY5" fmla="*/ 7193225 h 7870572"/>
              <a:gd name="connsiteX0" fmla="*/ 188894 w 4865026"/>
              <a:gd name="connsiteY0" fmla="*/ 7274677 h 7967496"/>
              <a:gd name="connsiteX1" fmla="*/ 189317 w 4865026"/>
              <a:gd name="connsiteY1" fmla="*/ 391394 h 7967496"/>
              <a:gd name="connsiteX2" fmla="*/ 3099481 w 4865026"/>
              <a:gd name="connsiteY2" fmla="*/ 418867 h 7967496"/>
              <a:gd name="connsiteX3" fmla="*/ 4862879 w 4865026"/>
              <a:gd name="connsiteY3" fmla="*/ 3733567 h 7967496"/>
              <a:gd name="connsiteX4" fmla="*/ 2747789 w 4865026"/>
              <a:gd name="connsiteY4" fmla="*/ 7276867 h 7967496"/>
              <a:gd name="connsiteX5" fmla="*/ 188894 w 4865026"/>
              <a:gd name="connsiteY5" fmla="*/ 7274677 h 7967496"/>
              <a:gd name="connsiteX0" fmla="*/ 192591 w 4868723"/>
              <a:gd name="connsiteY0" fmla="*/ 7277850 h 7971178"/>
              <a:gd name="connsiteX1" fmla="*/ 181997 w 4868723"/>
              <a:gd name="connsiteY1" fmla="*/ 387222 h 7971178"/>
              <a:gd name="connsiteX2" fmla="*/ 3103178 w 4868723"/>
              <a:gd name="connsiteY2" fmla="*/ 422040 h 7971178"/>
              <a:gd name="connsiteX3" fmla="*/ 4866576 w 4868723"/>
              <a:gd name="connsiteY3" fmla="*/ 3736740 h 7971178"/>
              <a:gd name="connsiteX4" fmla="*/ 2751486 w 4868723"/>
              <a:gd name="connsiteY4" fmla="*/ 7280040 h 7971178"/>
              <a:gd name="connsiteX5" fmla="*/ 192591 w 4868723"/>
              <a:gd name="connsiteY5" fmla="*/ 7277850 h 7971178"/>
              <a:gd name="connsiteX0" fmla="*/ 193427 w 4869559"/>
              <a:gd name="connsiteY0" fmla="*/ 7163116 h 7856444"/>
              <a:gd name="connsiteX1" fmla="*/ 182833 w 4869559"/>
              <a:gd name="connsiteY1" fmla="*/ 272488 h 7856444"/>
              <a:gd name="connsiteX2" fmla="*/ 3104014 w 4869559"/>
              <a:gd name="connsiteY2" fmla="*/ 307306 h 7856444"/>
              <a:gd name="connsiteX3" fmla="*/ 4867412 w 4869559"/>
              <a:gd name="connsiteY3" fmla="*/ 3622006 h 7856444"/>
              <a:gd name="connsiteX4" fmla="*/ 2752322 w 4869559"/>
              <a:gd name="connsiteY4" fmla="*/ 7165306 h 7856444"/>
              <a:gd name="connsiteX5" fmla="*/ 193427 w 4869559"/>
              <a:gd name="connsiteY5" fmla="*/ 7163116 h 7856444"/>
              <a:gd name="connsiteX0" fmla="*/ 170155 w 4846287"/>
              <a:gd name="connsiteY0" fmla="*/ 7143047 h 7831040"/>
              <a:gd name="connsiteX1" fmla="*/ 233007 w 4846287"/>
              <a:gd name="connsiteY1" fmla="*/ 329537 h 7831040"/>
              <a:gd name="connsiteX2" fmla="*/ 3080742 w 4846287"/>
              <a:gd name="connsiteY2" fmla="*/ 287237 h 7831040"/>
              <a:gd name="connsiteX3" fmla="*/ 4844140 w 4846287"/>
              <a:gd name="connsiteY3" fmla="*/ 3601937 h 7831040"/>
              <a:gd name="connsiteX4" fmla="*/ 2729050 w 4846287"/>
              <a:gd name="connsiteY4" fmla="*/ 7145237 h 7831040"/>
              <a:gd name="connsiteX5" fmla="*/ 170155 w 4846287"/>
              <a:gd name="connsiteY5" fmla="*/ 7143047 h 7831040"/>
              <a:gd name="connsiteX0" fmla="*/ 188486 w 4864618"/>
              <a:gd name="connsiteY0" fmla="*/ 7162098 h 7855172"/>
              <a:gd name="connsiteX1" fmla="*/ 192581 w 4864618"/>
              <a:gd name="connsiteY1" fmla="*/ 275143 h 7855172"/>
              <a:gd name="connsiteX2" fmla="*/ 3099073 w 4864618"/>
              <a:gd name="connsiteY2" fmla="*/ 306288 h 7855172"/>
              <a:gd name="connsiteX3" fmla="*/ 4862471 w 4864618"/>
              <a:gd name="connsiteY3" fmla="*/ 3620988 h 7855172"/>
              <a:gd name="connsiteX4" fmla="*/ 2747381 w 4864618"/>
              <a:gd name="connsiteY4" fmla="*/ 7164288 h 7855172"/>
              <a:gd name="connsiteX5" fmla="*/ 188486 w 4864618"/>
              <a:gd name="connsiteY5" fmla="*/ 7162098 h 785517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181559 h 7874633"/>
              <a:gd name="connsiteX1" fmla="*/ 344138 w 5016181"/>
              <a:gd name="connsiteY1" fmla="*/ 294604 h 7874633"/>
              <a:gd name="connsiteX2" fmla="*/ 3254303 w 5016181"/>
              <a:gd name="connsiteY2" fmla="*/ 296371 h 7874633"/>
              <a:gd name="connsiteX3" fmla="*/ 5014028 w 5016181"/>
              <a:gd name="connsiteY3" fmla="*/ 3640449 h 7874633"/>
              <a:gd name="connsiteX4" fmla="*/ 2898938 w 5016181"/>
              <a:gd name="connsiteY4" fmla="*/ 7183749 h 7874633"/>
              <a:gd name="connsiteX5" fmla="*/ 340043 w 5016181"/>
              <a:gd name="connsiteY5" fmla="*/ 7181559 h 7874633"/>
              <a:gd name="connsiteX0" fmla="*/ 340043 w 5016181"/>
              <a:gd name="connsiteY0" fmla="*/ 7183197 h 7876271"/>
              <a:gd name="connsiteX1" fmla="*/ 344138 w 5016181"/>
              <a:gd name="connsiteY1" fmla="*/ 296242 h 7876271"/>
              <a:gd name="connsiteX2" fmla="*/ 3254303 w 5016181"/>
              <a:gd name="connsiteY2" fmla="*/ 298009 h 7876271"/>
              <a:gd name="connsiteX3" fmla="*/ 5014028 w 5016181"/>
              <a:gd name="connsiteY3" fmla="*/ 3642087 h 7876271"/>
              <a:gd name="connsiteX4" fmla="*/ 2898938 w 5016181"/>
              <a:gd name="connsiteY4" fmla="*/ 7185387 h 7876271"/>
              <a:gd name="connsiteX5" fmla="*/ 340043 w 5016181"/>
              <a:gd name="connsiteY5" fmla="*/ 7183197 h 7876271"/>
              <a:gd name="connsiteX0" fmla="*/ 340043 w 5016181"/>
              <a:gd name="connsiteY0" fmla="*/ 7184031 h 7877324"/>
              <a:gd name="connsiteX1" fmla="*/ 344138 w 5016181"/>
              <a:gd name="connsiteY1" fmla="*/ 293901 h 7877324"/>
              <a:gd name="connsiteX2" fmla="*/ 3254303 w 5016181"/>
              <a:gd name="connsiteY2" fmla="*/ 298843 h 7877324"/>
              <a:gd name="connsiteX3" fmla="*/ 5014028 w 5016181"/>
              <a:gd name="connsiteY3" fmla="*/ 3642921 h 7877324"/>
              <a:gd name="connsiteX4" fmla="*/ 2898938 w 5016181"/>
              <a:gd name="connsiteY4" fmla="*/ 7186221 h 7877324"/>
              <a:gd name="connsiteX5" fmla="*/ 340043 w 5016181"/>
              <a:gd name="connsiteY5" fmla="*/ 7184031 h 7877324"/>
              <a:gd name="connsiteX0" fmla="*/ 338200 w 5014338"/>
              <a:gd name="connsiteY0" fmla="*/ 7184031 h 7877324"/>
              <a:gd name="connsiteX1" fmla="*/ 345470 w 5014338"/>
              <a:gd name="connsiteY1" fmla="*/ 293901 h 7877324"/>
              <a:gd name="connsiteX2" fmla="*/ 3252460 w 5014338"/>
              <a:gd name="connsiteY2" fmla="*/ 298843 h 7877324"/>
              <a:gd name="connsiteX3" fmla="*/ 5012185 w 5014338"/>
              <a:gd name="connsiteY3" fmla="*/ 3642921 h 7877324"/>
              <a:gd name="connsiteX4" fmla="*/ 2897095 w 5014338"/>
              <a:gd name="connsiteY4" fmla="*/ 7186221 h 7877324"/>
              <a:gd name="connsiteX5" fmla="*/ 338200 w 5014338"/>
              <a:gd name="connsiteY5" fmla="*/ 7184031 h 7877324"/>
              <a:gd name="connsiteX0" fmla="*/ 338200 w 5014338"/>
              <a:gd name="connsiteY0" fmla="*/ 7183318 h 7876611"/>
              <a:gd name="connsiteX1" fmla="*/ 345470 w 5014338"/>
              <a:gd name="connsiteY1" fmla="*/ 293188 h 7876611"/>
              <a:gd name="connsiteX2" fmla="*/ 3252460 w 5014338"/>
              <a:gd name="connsiteY2" fmla="*/ 298130 h 7876611"/>
              <a:gd name="connsiteX3" fmla="*/ 5012185 w 5014338"/>
              <a:gd name="connsiteY3" fmla="*/ 3642208 h 7876611"/>
              <a:gd name="connsiteX4" fmla="*/ 2897095 w 5014338"/>
              <a:gd name="connsiteY4" fmla="*/ 7185508 h 7876611"/>
              <a:gd name="connsiteX5" fmla="*/ 338200 w 5014338"/>
              <a:gd name="connsiteY5" fmla="*/ 7183318 h 7876611"/>
              <a:gd name="connsiteX0" fmla="*/ 189227 w 4865365"/>
              <a:gd name="connsiteY0" fmla="*/ 7183318 h 7876611"/>
              <a:gd name="connsiteX1" fmla="*/ 196497 w 4865365"/>
              <a:gd name="connsiteY1" fmla="*/ 293188 h 7876611"/>
              <a:gd name="connsiteX2" fmla="*/ 3103487 w 4865365"/>
              <a:gd name="connsiteY2" fmla="*/ 298130 h 7876611"/>
              <a:gd name="connsiteX3" fmla="*/ 4863212 w 4865365"/>
              <a:gd name="connsiteY3" fmla="*/ 3642208 h 7876611"/>
              <a:gd name="connsiteX4" fmla="*/ 2748122 w 4865365"/>
              <a:gd name="connsiteY4" fmla="*/ 7185508 h 7876611"/>
              <a:gd name="connsiteX5" fmla="*/ 189227 w 4865365"/>
              <a:gd name="connsiteY5" fmla="*/ 7183318 h 7876611"/>
              <a:gd name="connsiteX0" fmla="*/ 192432 w 4868570"/>
              <a:gd name="connsiteY0" fmla="*/ 7183318 h 7876611"/>
              <a:gd name="connsiteX1" fmla="*/ 190177 w 4868570"/>
              <a:gd name="connsiteY1" fmla="*/ 293188 h 7876611"/>
              <a:gd name="connsiteX2" fmla="*/ 3106692 w 4868570"/>
              <a:gd name="connsiteY2" fmla="*/ 298130 h 7876611"/>
              <a:gd name="connsiteX3" fmla="*/ 4866417 w 4868570"/>
              <a:gd name="connsiteY3" fmla="*/ 3642208 h 7876611"/>
              <a:gd name="connsiteX4" fmla="*/ 2751327 w 4868570"/>
              <a:gd name="connsiteY4" fmla="*/ 7185508 h 7876611"/>
              <a:gd name="connsiteX5" fmla="*/ 192432 w 4868570"/>
              <a:gd name="connsiteY5" fmla="*/ 7183318 h 7876611"/>
              <a:gd name="connsiteX0" fmla="*/ 190287 w 4866425"/>
              <a:gd name="connsiteY0" fmla="*/ 7183318 h 7876611"/>
              <a:gd name="connsiteX1" fmla="*/ 188032 w 4866425"/>
              <a:gd name="connsiteY1" fmla="*/ 293188 h 7876611"/>
              <a:gd name="connsiteX2" fmla="*/ 3104547 w 4866425"/>
              <a:gd name="connsiteY2" fmla="*/ 298130 h 7876611"/>
              <a:gd name="connsiteX3" fmla="*/ 4864272 w 4866425"/>
              <a:gd name="connsiteY3" fmla="*/ 3642208 h 7876611"/>
              <a:gd name="connsiteX4" fmla="*/ 2749182 w 4866425"/>
              <a:gd name="connsiteY4" fmla="*/ 7185508 h 7876611"/>
              <a:gd name="connsiteX5" fmla="*/ 190287 w 4866425"/>
              <a:gd name="connsiteY5" fmla="*/ 7183318 h 7876611"/>
              <a:gd name="connsiteX0" fmla="*/ 190287 w 4866425"/>
              <a:gd name="connsiteY0" fmla="*/ 7154743 h 7859802"/>
              <a:gd name="connsiteX1" fmla="*/ 188032 w 4866425"/>
              <a:gd name="connsiteY1" fmla="*/ 293188 h 7859802"/>
              <a:gd name="connsiteX2" fmla="*/ 3104547 w 4866425"/>
              <a:gd name="connsiteY2" fmla="*/ 298130 h 7859802"/>
              <a:gd name="connsiteX3" fmla="*/ 4864272 w 4866425"/>
              <a:gd name="connsiteY3" fmla="*/ 3642208 h 7859802"/>
              <a:gd name="connsiteX4" fmla="*/ 2749182 w 4866425"/>
              <a:gd name="connsiteY4" fmla="*/ 7185508 h 7859802"/>
              <a:gd name="connsiteX5" fmla="*/ 190287 w 4866425"/>
              <a:gd name="connsiteY5" fmla="*/ 7154743 h 7859802"/>
              <a:gd name="connsiteX0" fmla="*/ 2255 w 4678393"/>
              <a:gd name="connsiteY0" fmla="*/ 7154743 h 7872894"/>
              <a:gd name="connsiteX1" fmla="*/ 0 w 4678393"/>
              <a:gd name="connsiteY1" fmla="*/ 293188 h 7872894"/>
              <a:gd name="connsiteX2" fmla="*/ 2916515 w 4678393"/>
              <a:gd name="connsiteY2" fmla="*/ 298130 h 7872894"/>
              <a:gd name="connsiteX3" fmla="*/ 4676240 w 4678393"/>
              <a:gd name="connsiteY3" fmla="*/ 3642208 h 7872894"/>
              <a:gd name="connsiteX4" fmla="*/ 2561150 w 4678393"/>
              <a:gd name="connsiteY4" fmla="*/ 7185508 h 7872894"/>
              <a:gd name="connsiteX5" fmla="*/ 2255 w 4678393"/>
              <a:gd name="connsiteY5" fmla="*/ 7154743 h 7872894"/>
              <a:gd name="connsiteX0" fmla="*/ 2822 w 4678960"/>
              <a:gd name="connsiteY0" fmla="*/ 7154743 h 7874206"/>
              <a:gd name="connsiteX1" fmla="*/ 567 w 4678960"/>
              <a:gd name="connsiteY1" fmla="*/ 293188 h 7874206"/>
              <a:gd name="connsiteX2" fmla="*/ 2917082 w 4678960"/>
              <a:gd name="connsiteY2" fmla="*/ 298130 h 7874206"/>
              <a:gd name="connsiteX3" fmla="*/ 4676807 w 4678960"/>
              <a:gd name="connsiteY3" fmla="*/ 3642208 h 7874206"/>
              <a:gd name="connsiteX4" fmla="*/ 2561717 w 4678960"/>
              <a:gd name="connsiteY4" fmla="*/ 7185508 h 7874206"/>
              <a:gd name="connsiteX5" fmla="*/ 2822 w 4678960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473936"/>
              <a:gd name="connsiteX1" fmla="*/ 0 w 4678393"/>
              <a:gd name="connsiteY1" fmla="*/ 293188 h 7473936"/>
              <a:gd name="connsiteX2" fmla="*/ 2916515 w 4678393"/>
              <a:gd name="connsiteY2" fmla="*/ 298130 h 7473936"/>
              <a:gd name="connsiteX3" fmla="*/ 4676240 w 4678393"/>
              <a:gd name="connsiteY3" fmla="*/ 3642208 h 7473936"/>
              <a:gd name="connsiteX4" fmla="*/ 2561150 w 4678393"/>
              <a:gd name="connsiteY4" fmla="*/ 7185508 h 7473936"/>
              <a:gd name="connsiteX5" fmla="*/ 2255 w 4678393"/>
              <a:gd name="connsiteY5" fmla="*/ 7154743 h 7473936"/>
              <a:gd name="connsiteX0" fmla="*/ 2255 w 4678393"/>
              <a:gd name="connsiteY0" fmla="*/ 7154743 h 7450206"/>
              <a:gd name="connsiteX1" fmla="*/ 0 w 4678393"/>
              <a:gd name="connsiteY1" fmla="*/ 293188 h 7450206"/>
              <a:gd name="connsiteX2" fmla="*/ 2916515 w 4678393"/>
              <a:gd name="connsiteY2" fmla="*/ 298130 h 7450206"/>
              <a:gd name="connsiteX3" fmla="*/ 4676240 w 4678393"/>
              <a:gd name="connsiteY3" fmla="*/ 3642208 h 7450206"/>
              <a:gd name="connsiteX4" fmla="*/ 2564325 w 4678393"/>
              <a:gd name="connsiteY4" fmla="*/ 7153758 h 7450206"/>
              <a:gd name="connsiteX5" fmla="*/ 2255 w 4678393"/>
              <a:gd name="connsiteY5" fmla="*/ 7154743 h 7450206"/>
              <a:gd name="connsiteX0" fmla="*/ 2255 w 4678393"/>
              <a:gd name="connsiteY0" fmla="*/ 7154743 h 7154743"/>
              <a:gd name="connsiteX1" fmla="*/ 0 w 4678393"/>
              <a:gd name="connsiteY1" fmla="*/ 293188 h 7154743"/>
              <a:gd name="connsiteX2" fmla="*/ 2916515 w 4678393"/>
              <a:gd name="connsiteY2" fmla="*/ 298130 h 7154743"/>
              <a:gd name="connsiteX3" fmla="*/ 4676240 w 4678393"/>
              <a:gd name="connsiteY3" fmla="*/ 3642208 h 7154743"/>
              <a:gd name="connsiteX4" fmla="*/ 2564325 w 4678393"/>
              <a:gd name="connsiteY4" fmla="*/ 7153758 h 7154743"/>
              <a:gd name="connsiteX5" fmla="*/ 2255 w 4678393"/>
              <a:gd name="connsiteY5" fmla="*/ 7154743 h 7154743"/>
              <a:gd name="connsiteX0" fmla="*/ 2255 w 4678393"/>
              <a:gd name="connsiteY0" fmla="*/ 6861555 h 6861555"/>
              <a:gd name="connsiteX1" fmla="*/ 0 w 4678393"/>
              <a:gd name="connsiteY1" fmla="*/ 0 h 6861555"/>
              <a:gd name="connsiteX2" fmla="*/ 2916515 w 4678393"/>
              <a:gd name="connsiteY2" fmla="*/ 4942 h 6861555"/>
              <a:gd name="connsiteX3" fmla="*/ 4676240 w 4678393"/>
              <a:gd name="connsiteY3" fmla="*/ 3349020 h 6861555"/>
              <a:gd name="connsiteX4" fmla="*/ 2564325 w 4678393"/>
              <a:gd name="connsiteY4" fmla="*/ 6860570 h 6861555"/>
              <a:gd name="connsiteX5" fmla="*/ 2255 w 4678393"/>
              <a:gd name="connsiteY5" fmla="*/ 6861555 h 6861555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9009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8377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3061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71578"/>
              <a:gd name="connsiteX1" fmla="*/ 0 w 4678399"/>
              <a:gd name="connsiteY1" fmla="*/ 1408 h 6871578"/>
              <a:gd name="connsiteX2" fmla="*/ 2919690 w 4678399"/>
              <a:gd name="connsiteY2" fmla="*/ 0 h 6871578"/>
              <a:gd name="connsiteX3" fmla="*/ 4676240 w 4678399"/>
              <a:gd name="connsiteY3" fmla="*/ 3350428 h 6871578"/>
              <a:gd name="connsiteX4" fmla="*/ 2521796 w 4678399"/>
              <a:gd name="connsiteY4" fmla="*/ 6871578 h 6871578"/>
              <a:gd name="connsiteX5" fmla="*/ 2255 w 4678399"/>
              <a:gd name="connsiteY5" fmla="*/ 6862963 h 6871578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6240" h="6862963">
                <a:moveTo>
                  <a:pt x="2255" y="6862963"/>
                </a:moveTo>
                <a:cubicBezTo>
                  <a:pt x="847" y="5679318"/>
                  <a:pt x="65" y="1117189"/>
                  <a:pt x="0" y="1408"/>
                </a:cubicBezTo>
                <a:lnTo>
                  <a:pt x="2919690" y="0"/>
                </a:lnTo>
                <a:cubicBezTo>
                  <a:pt x="3347209" y="321191"/>
                  <a:pt x="4644479" y="1245147"/>
                  <a:pt x="4676240" y="3350428"/>
                </a:cubicBezTo>
                <a:cubicBezTo>
                  <a:pt x="4625578" y="5097946"/>
                  <a:pt x="3667890" y="6255680"/>
                  <a:pt x="2516480" y="6860945"/>
                </a:cubicBezTo>
                <a:lnTo>
                  <a:pt x="2255" y="6862963"/>
                </a:lnTo>
                <a:close/>
              </a:path>
            </a:pathLst>
          </a:custGeom>
          <a:ln>
            <a:noFill/>
          </a:ln>
          <a:extLst>
            <a:ext uri="{91240B29-F687-4f45-9708-019B960494DF}"/>
          </a:extLst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8461" y="110949"/>
            <a:ext cx="6882540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28461" y="1533600"/>
            <a:ext cx="688254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928461" y="2174400"/>
            <a:ext cx="688254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45650250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110949"/>
            <a:ext cx="10972800" cy="1143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600" y="1602000"/>
            <a:ext cx="10972800" cy="452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540699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614252" y="1676400"/>
            <a:ext cx="5791200" cy="4343400"/>
          </a:xfrm>
          <a:prstGeom prst="ellipse">
            <a:avLst/>
          </a:prstGeom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501866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5994400" y="1676400"/>
            <a:ext cx="5791200" cy="4343400"/>
          </a:xfrm>
          <a:prstGeom prst="ellipse">
            <a:avLst/>
          </a:prstGeom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768188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 bwMode="ltGray">
          <a:xfrm>
            <a:off x="-17630" y="-9254"/>
            <a:ext cx="6234987" cy="6867254"/>
          </a:xfrm>
          <a:custGeom>
            <a:avLst/>
            <a:gdLst>
              <a:gd name="connsiteX0" fmla="*/ 0 w 8001000"/>
              <a:gd name="connsiteY0" fmla="*/ 4000500 h 8001000"/>
              <a:gd name="connsiteX1" fmla="*/ 4000500 w 8001000"/>
              <a:gd name="connsiteY1" fmla="*/ 0 h 8001000"/>
              <a:gd name="connsiteX2" fmla="*/ 8001000 w 8001000"/>
              <a:gd name="connsiteY2" fmla="*/ 4000500 h 8001000"/>
              <a:gd name="connsiteX3" fmla="*/ 4000500 w 8001000"/>
              <a:gd name="connsiteY3" fmla="*/ 8001000 h 8001000"/>
              <a:gd name="connsiteX4" fmla="*/ 0 w 8001000"/>
              <a:gd name="connsiteY4" fmla="*/ 4000500 h 8001000"/>
              <a:gd name="connsiteX0" fmla="*/ 0 w 8060683"/>
              <a:gd name="connsiteY0" fmla="*/ 4222799 h 8223299"/>
              <a:gd name="connsiteX1" fmla="*/ 4000500 w 8060683"/>
              <a:gd name="connsiteY1" fmla="*/ 222299 h 8223299"/>
              <a:gd name="connsiteX2" fmla="*/ 6237602 w 8060683"/>
              <a:gd name="connsiteY2" fmla="*/ 908099 h 8223299"/>
              <a:gd name="connsiteX3" fmla="*/ 8001000 w 8060683"/>
              <a:gd name="connsiteY3" fmla="*/ 4222799 h 8223299"/>
              <a:gd name="connsiteX4" fmla="*/ 4000500 w 8060683"/>
              <a:gd name="connsiteY4" fmla="*/ 8223299 h 8223299"/>
              <a:gd name="connsiteX5" fmla="*/ 0 w 8060683"/>
              <a:gd name="connsiteY5" fmla="*/ 4222799 h 8223299"/>
              <a:gd name="connsiteX0" fmla="*/ 8055 w 8068738"/>
              <a:gd name="connsiteY0" fmla="*/ 3760842 h 7761342"/>
              <a:gd name="connsiteX1" fmla="*/ 3296378 w 8068738"/>
              <a:gd name="connsiteY1" fmla="*/ 472519 h 7761342"/>
              <a:gd name="connsiteX2" fmla="*/ 6245657 w 8068738"/>
              <a:gd name="connsiteY2" fmla="*/ 446142 h 7761342"/>
              <a:gd name="connsiteX3" fmla="*/ 8009055 w 8068738"/>
              <a:gd name="connsiteY3" fmla="*/ 3760842 h 7761342"/>
              <a:gd name="connsiteX4" fmla="*/ 4008555 w 8068738"/>
              <a:gd name="connsiteY4" fmla="*/ 7761342 h 7761342"/>
              <a:gd name="connsiteX5" fmla="*/ 8055 w 8068738"/>
              <a:gd name="connsiteY5" fmla="*/ 3760842 h 7761342"/>
              <a:gd name="connsiteX0" fmla="*/ 6123 w 8066806"/>
              <a:gd name="connsiteY0" fmla="*/ 3768834 h 7769334"/>
              <a:gd name="connsiteX1" fmla="*/ 3373577 w 8066806"/>
              <a:gd name="connsiteY1" fmla="*/ 462926 h 7769334"/>
              <a:gd name="connsiteX2" fmla="*/ 6243725 w 8066806"/>
              <a:gd name="connsiteY2" fmla="*/ 454134 h 7769334"/>
              <a:gd name="connsiteX3" fmla="*/ 8007123 w 8066806"/>
              <a:gd name="connsiteY3" fmla="*/ 3768834 h 7769334"/>
              <a:gd name="connsiteX4" fmla="*/ 4006623 w 8066806"/>
              <a:gd name="connsiteY4" fmla="*/ 7769334 h 7769334"/>
              <a:gd name="connsiteX5" fmla="*/ 6123 w 8066806"/>
              <a:gd name="connsiteY5" fmla="*/ 3768834 h 7769334"/>
              <a:gd name="connsiteX0" fmla="*/ 6939 w 8067622"/>
              <a:gd name="connsiteY0" fmla="*/ 3768834 h 7769334"/>
              <a:gd name="connsiteX1" fmla="*/ 3339224 w 8067622"/>
              <a:gd name="connsiteY1" fmla="*/ 462926 h 7769334"/>
              <a:gd name="connsiteX2" fmla="*/ 6244541 w 8067622"/>
              <a:gd name="connsiteY2" fmla="*/ 454134 h 7769334"/>
              <a:gd name="connsiteX3" fmla="*/ 8007939 w 8067622"/>
              <a:gd name="connsiteY3" fmla="*/ 3768834 h 7769334"/>
              <a:gd name="connsiteX4" fmla="*/ 4007439 w 8067622"/>
              <a:gd name="connsiteY4" fmla="*/ 7769334 h 7769334"/>
              <a:gd name="connsiteX5" fmla="*/ 6939 w 8067622"/>
              <a:gd name="connsiteY5" fmla="*/ 3768834 h 7769334"/>
              <a:gd name="connsiteX0" fmla="*/ 6939 w 8010086"/>
              <a:gd name="connsiteY0" fmla="*/ 3768834 h 7984710"/>
              <a:gd name="connsiteX1" fmla="*/ 3339224 w 8010086"/>
              <a:gd name="connsiteY1" fmla="*/ 462926 h 7984710"/>
              <a:gd name="connsiteX2" fmla="*/ 6244541 w 8010086"/>
              <a:gd name="connsiteY2" fmla="*/ 454134 h 7984710"/>
              <a:gd name="connsiteX3" fmla="*/ 8007939 w 8010086"/>
              <a:gd name="connsiteY3" fmla="*/ 3768834 h 7984710"/>
              <a:gd name="connsiteX4" fmla="*/ 5892849 w 8010086"/>
              <a:gd name="connsiteY4" fmla="*/ 7057157 h 7984710"/>
              <a:gd name="connsiteX5" fmla="*/ 4007439 w 8010086"/>
              <a:gd name="connsiteY5" fmla="*/ 7769334 h 7984710"/>
              <a:gd name="connsiteX6" fmla="*/ 6939 w 8010086"/>
              <a:gd name="connsiteY6" fmla="*/ 3768834 h 7984710"/>
              <a:gd name="connsiteX0" fmla="*/ 6939 w 8010086"/>
              <a:gd name="connsiteY0" fmla="*/ 3768834 h 8061801"/>
              <a:gd name="connsiteX1" fmla="*/ 3339224 w 8010086"/>
              <a:gd name="connsiteY1" fmla="*/ 462926 h 8061801"/>
              <a:gd name="connsiteX2" fmla="*/ 6244541 w 8010086"/>
              <a:gd name="connsiteY2" fmla="*/ 454134 h 8061801"/>
              <a:gd name="connsiteX3" fmla="*/ 8007939 w 8010086"/>
              <a:gd name="connsiteY3" fmla="*/ 3768834 h 8061801"/>
              <a:gd name="connsiteX4" fmla="*/ 5892849 w 8010086"/>
              <a:gd name="connsiteY4" fmla="*/ 7312134 h 8061801"/>
              <a:gd name="connsiteX5" fmla="*/ 4007439 w 8010086"/>
              <a:gd name="connsiteY5" fmla="*/ 7769334 h 8061801"/>
              <a:gd name="connsiteX6" fmla="*/ 6939 w 8010086"/>
              <a:gd name="connsiteY6" fmla="*/ 3768834 h 8061801"/>
              <a:gd name="connsiteX0" fmla="*/ 6 w 8003153"/>
              <a:gd name="connsiteY0" fmla="*/ 3768834 h 7779879"/>
              <a:gd name="connsiteX1" fmla="*/ 3332291 w 8003153"/>
              <a:gd name="connsiteY1" fmla="*/ 462926 h 7779879"/>
              <a:gd name="connsiteX2" fmla="*/ 6237608 w 8003153"/>
              <a:gd name="connsiteY2" fmla="*/ 454134 h 7779879"/>
              <a:gd name="connsiteX3" fmla="*/ 8001006 w 8003153"/>
              <a:gd name="connsiteY3" fmla="*/ 3768834 h 7779879"/>
              <a:gd name="connsiteX4" fmla="*/ 5885916 w 8003153"/>
              <a:gd name="connsiteY4" fmla="*/ 7312134 h 7779879"/>
              <a:gd name="connsiteX5" fmla="*/ 3349875 w 8003153"/>
              <a:gd name="connsiteY5" fmla="*/ 7303342 h 7779879"/>
              <a:gd name="connsiteX6" fmla="*/ 6 w 8003153"/>
              <a:gd name="connsiteY6" fmla="*/ 3768834 h 7779879"/>
              <a:gd name="connsiteX0" fmla="*/ 3 w 8003150"/>
              <a:gd name="connsiteY0" fmla="*/ 3768834 h 7775751"/>
              <a:gd name="connsiteX1" fmla="*/ 3332288 w 8003150"/>
              <a:gd name="connsiteY1" fmla="*/ 462926 h 7775751"/>
              <a:gd name="connsiteX2" fmla="*/ 6237605 w 8003150"/>
              <a:gd name="connsiteY2" fmla="*/ 454134 h 7775751"/>
              <a:gd name="connsiteX3" fmla="*/ 8001003 w 8003150"/>
              <a:gd name="connsiteY3" fmla="*/ 3768834 h 7775751"/>
              <a:gd name="connsiteX4" fmla="*/ 5885913 w 8003150"/>
              <a:gd name="connsiteY4" fmla="*/ 7312134 h 7775751"/>
              <a:gd name="connsiteX5" fmla="*/ 3314702 w 8003150"/>
              <a:gd name="connsiteY5" fmla="*/ 7294550 h 7775751"/>
              <a:gd name="connsiteX6" fmla="*/ 3 w 8003150"/>
              <a:gd name="connsiteY6" fmla="*/ 3768834 h 77757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35777 h 7832403"/>
              <a:gd name="connsiteX1" fmla="*/ 664079 w 5334941"/>
              <a:gd name="connsiteY1" fmla="*/ 304153 h 7832403"/>
              <a:gd name="connsiteX2" fmla="*/ 3569396 w 5334941"/>
              <a:gd name="connsiteY2" fmla="*/ 295361 h 7832403"/>
              <a:gd name="connsiteX3" fmla="*/ 5332794 w 5334941"/>
              <a:gd name="connsiteY3" fmla="*/ 3610061 h 7832403"/>
              <a:gd name="connsiteX4" fmla="*/ 3217704 w 5334941"/>
              <a:gd name="connsiteY4" fmla="*/ 7153361 h 7832403"/>
              <a:gd name="connsiteX5" fmla="*/ 646493 w 5334941"/>
              <a:gd name="connsiteY5" fmla="*/ 7135777 h 7832403"/>
              <a:gd name="connsiteX0" fmla="*/ 182720 w 4871168"/>
              <a:gd name="connsiteY0" fmla="*/ 7135777 h 7832403"/>
              <a:gd name="connsiteX1" fmla="*/ 200306 w 4871168"/>
              <a:gd name="connsiteY1" fmla="*/ 304153 h 7832403"/>
              <a:gd name="connsiteX2" fmla="*/ 3105623 w 4871168"/>
              <a:gd name="connsiteY2" fmla="*/ 295361 h 7832403"/>
              <a:gd name="connsiteX3" fmla="*/ 4869021 w 4871168"/>
              <a:gd name="connsiteY3" fmla="*/ 3610061 h 7832403"/>
              <a:gd name="connsiteX4" fmla="*/ 2753931 w 4871168"/>
              <a:gd name="connsiteY4" fmla="*/ 7153361 h 7832403"/>
              <a:gd name="connsiteX5" fmla="*/ 182720 w 4871168"/>
              <a:gd name="connsiteY5" fmla="*/ 7135777 h 7832403"/>
              <a:gd name="connsiteX0" fmla="*/ 182720 w 4871168"/>
              <a:gd name="connsiteY0" fmla="*/ 7124471 h 7821097"/>
              <a:gd name="connsiteX1" fmla="*/ 200306 w 4871168"/>
              <a:gd name="connsiteY1" fmla="*/ 292847 h 7821097"/>
              <a:gd name="connsiteX2" fmla="*/ 3105623 w 4871168"/>
              <a:gd name="connsiteY2" fmla="*/ 284055 h 7821097"/>
              <a:gd name="connsiteX3" fmla="*/ 4869021 w 4871168"/>
              <a:gd name="connsiteY3" fmla="*/ 3598755 h 7821097"/>
              <a:gd name="connsiteX4" fmla="*/ 2753931 w 4871168"/>
              <a:gd name="connsiteY4" fmla="*/ 7142055 h 7821097"/>
              <a:gd name="connsiteX5" fmla="*/ 182720 w 4871168"/>
              <a:gd name="connsiteY5" fmla="*/ 7124471 h 7821097"/>
              <a:gd name="connsiteX0" fmla="*/ 182720 w 4871168"/>
              <a:gd name="connsiteY0" fmla="*/ 7133321 h 7829947"/>
              <a:gd name="connsiteX1" fmla="*/ 200306 w 4871168"/>
              <a:gd name="connsiteY1" fmla="*/ 301697 h 7829947"/>
              <a:gd name="connsiteX2" fmla="*/ 3105623 w 4871168"/>
              <a:gd name="connsiteY2" fmla="*/ 292905 h 7829947"/>
              <a:gd name="connsiteX3" fmla="*/ 4869021 w 4871168"/>
              <a:gd name="connsiteY3" fmla="*/ 3607605 h 7829947"/>
              <a:gd name="connsiteX4" fmla="*/ 2753931 w 4871168"/>
              <a:gd name="connsiteY4" fmla="*/ 7150905 h 7829947"/>
              <a:gd name="connsiteX5" fmla="*/ 182720 w 4871168"/>
              <a:gd name="connsiteY5" fmla="*/ 7133321 h 7829947"/>
              <a:gd name="connsiteX0" fmla="*/ 186720 w 4875168"/>
              <a:gd name="connsiteY0" fmla="*/ 7137599 h 7835370"/>
              <a:gd name="connsiteX1" fmla="*/ 191837 w 4875168"/>
              <a:gd name="connsiteY1" fmla="*/ 289350 h 7835370"/>
              <a:gd name="connsiteX2" fmla="*/ 3109623 w 4875168"/>
              <a:gd name="connsiteY2" fmla="*/ 297183 h 7835370"/>
              <a:gd name="connsiteX3" fmla="*/ 4873021 w 4875168"/>
              <a:gd name="connsiteY3" fmla="*/ 3611883 h 7835370"/>
              <a:gd name="connsiteX4" fmla="*/ 2757931 w 4875168"/>
              <a:gd name="connsiteY4" fmla="*/ 7155183 h 7835370"/>
              <a:gd name="connsiteX5" fmla="*/ 186720 w 4875168"/>
              <a:gd name="connsiteY5" fmla="*/ 7137599 h 7835370"/>
              <a:gd name="connsiteX0" fmla="*/ 171307 w 4859755"/>
              <a:gd name="connsiteY0" fmla="*/ 7112714 h 7803338"/>
              <a:gd name="connsiteX1" fmla="*/ 226300 w 4859755"/>
              <a:gd name="connsiteY1" fmla="*/ 368374 h 7803338"/>
              <a:gd name="connsiteX2" fmla="*/ 3094210 w 4859755"/>
              <a:gd name="connsiteY2" fmla="*/ 272298 h 7803338"/>
              <a:gd name="connsiteX3" fmla="*/ 4857608 w 4859755"/>
              <a:gd name="connsiteY3" fmla="*/ 3586998 h 7803338"/>
              <a:gd name="connsiteX4" fmla="*/ 2742518 w 4859755"/>
              <a:gd name="connsiteY4" fmla="*/ 7130298 h 7803338"/>
              <a:gd name="connsiteX5" fmla="*/ 171307 w 4859755"/>
              <a:gd name="connsiteY5" fmla="*/ 7112714 h 7803338"/>
              <a:gd name="connsiteX0" fmla="*/ 184041 w 4872489"/>
              <a:gd name="connsiteY0" fmla="*/ 7134379 h 7831291"/>
              <a:gd name="connsiteX1" fmla="*/ 197470 w 4872489"/>
              <a:gd name="connsiteY1" fmla="*/ 298599 h 7831291"/>
              <a:gd name="connsiteX2" fmla="*/ 3106944 w 4872489"/>
              <a:gd name="connsiteY2" fmla="*/ 293963 h 7831291"/>
              <a:gd name="connsiteX3" fmla="*/ 4870342 w 4872489"/>
              <a:gd name="connsiteY3" fmla="*/ 3608663 h 7831291"/>
              <a:gd name="connsiteX4" fmla="*/ 2755252 w 4872489"/>
              <a:gd name="connsiteY4" fmla="*/ 7151963 h 7831291"/>
              <a:gd name="connsiteX5" fmla="*/ 184041 w 4872489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9716 w 4868927"/>
              <a:gd name="connsiteY0" fmla="*/ 7152851 h 7842196"/>
              <a:gd name="connsiteX1" fmla="*/ 193908 w 4868927"/>
              <a:gd name="connsiteY1" fmla="*/ 298599 h 7842196"/>
              <a:gd name="connsiteX2" fmla="*/ 3103382 w 4868927"/>
              <a:gd name="connsiteY2" fmla="*/ 293963 h 7842196"/>
              <a:gd name="connsiteX3" fmla="*/ 4866780 w 4868927"/>
              <a:gd name="connsiteY3" fmla="*/ 3608663 h 7842196"/>
              <a:gd name="connsiteX4" fmla="*/ 2751690 w 4868927"/>
              <a:gd name="connsiteY4" fmla="*/ 7151963 h 7842196"/>
              <a:gd name="connsiteX5" fmla="*/ 189716 w 4868927"/>
              <a:gd name="connsiteY5" fmla="*/ 7152851 h 7842196"/>
              <a:gd name="connsiteX0" fmla="*/ 2 w 4679213"/>
              <a:gd name="connsiteY0" fmla="*/ 7152851 h 7447842"/>
              <a:gd name="connsiteX1" fmla="*/ 4194 w 4679213"/>
              <a:gd name="connsiteY1" fmla="*/ 298599 h 7447842"/>
              <a:gd name="connsiteX2" fmla="*/ 2913668 w 4679213"/>
              <a:gd name="connsiteY2" fmla="*/ 293963 h 7447842"/>
              <a:gd name="connsiteX3" fmla="*/ 4677066 w 4679213"/>
              <a:gd name="connsiteY3" fmla="*/ 3608663 h 7447842"/>
              <a:gd name="connsiteX4" fmla="*/ 2561976 w 4679213"/>
              <a:gd name="connsiteY4" fmla="*/ 7151963 h 7447842"/>
              <a:gd name="connsiteX5" fmla="*/ 2 w 4679213"/>
              <a:gd name="connsiteY5" fmla="*/ 7152851 h 7447842"/>
              <a:gd name="connsiteX0" fmla="*/ 232986 w 4675130"/>
              <a:gd name="connsiteY0" fmla="*/ 7082039 h 7430577"/>
              <a:gd name="connsiteX1" fmla="*/ 111 w 4675130"/>
              <a:gd name="connsiteY1" fmla="*/ 298599 h 7430577"/>
              <a:gd name="connsiteX2" fmla="*/ 2909585 w 4675130"/>
              <a:gd name="connsiteY2" fmla="*/ 293963 h 7430577"/>
              <a:gd name="connsiteX3" fmla="*/ 4672983 w 4675130"/>
              <a:gd name="connsiteY3" fmla="*/ 3608663 h 7430577"/>
              <a:gd name="connsiteX4" fmla="*/ 2557893 w 4675130"/>
              <a:gd name="connsiteY4" fmla="*/ 7151963 h 7430577"/>
              <a:gd name="connsiteX5" fmla="*/ 232986 w 4675130"/>
              <a:gd name="connsiteY5" fmla="*/ 7082039 h 7430577"/>
              <a:gd name="connsiteX0" fmla="*/ 1481 w 4677613"/>
              <a:gd name="connsiteY0" fmla="*/ 7149773 h 7447048"/>
              <a:gd name="connsiteX1" fmla="*/ 2594 w 4677613"/>
              <a:gd name="connsiteY1" fmla="*/ 298599 h 7447048"/>
              <a:gd name="connsiteX2" fmla="*/ 2912068 w 4677613"/>
              <a:gd name="connsiteY2" fmla="*/ 293963 h 7447048"/>
              <a:gd name="connsiteX3" fmla="*/ 4675466 w 4677613"/>
              <a:gd name="connsiteY3" fmla="*/ 3608663 h 7447048"/>
              <a:gd name="connsiteX4" fmla="*/ 2560376 w 4677613"/>
              <a:gd name="connsiteY4" fmla="*/ 7151963 h 7447048"/>
              <a:gd name="connsiteX5" fmla="*/ 1481 w 4677613"/>
              <a:gd name="connsiteY5" fmla="*/ 7149773 h 7447048"/>
              <a:gd name="connsiteX0" fmla="*/ 165734 w 4841866"/>
              <a:gd name="connsiteY0" fmla="*/ 7139154 h 7826771"/>
              <a:gd name="connsiteX1" fmla="*/ 246896 w 4841866"/>
              <a:gd name="connsiteY1" fmla="*/ 331083 h 7826771"/>
              <a:gd name="connsiteX2" fmla="*/ 3076321 w 4841866"/>
              <a:gd name="connsiteY2" fmla="*/ 283344 h 7826771"/>
              <a:gd name="connsiteX3" fmla="*/ 4839719 w 4841866"/>
              <a:gd name="connsiteY3" fmla="*/ 3598044 h 7826771"/>
              <a:gd name="connsiteX4" fmla="*/ 2724629 w 4841866"/>
              <a:gd name="connsiteY4" fmla="*/ 7141344 h 7826771"/>
              <a:gd name="connsiteX5" fmla="*/ 165734 w 4841866"/>
              <a:gd name="connsiteY5" fmla="*/ 7139154 h 7826771"/>
              <a:gd name="connsiteX0" fmla="*/ 192597 w 4868729"/>
              <a:gd name="connsiteY0" fmla="*/ 7111990 h 7790893"/>
              <a:gd name="connsiteX1" fmla="*/ 187553 w 4868729"/>
              <a:gd name="connsiteY1" fmla="*/ 430149 h 7790893"/>
              <a:gd name="connsiteX2" fmla="*/ 3103184 w 4868729"/>
              <a:gd name="connsiteY2" fmla="*/ 256180 h 7790893"/>
              <a:gd name="connsiteX3" fmla="*/ 4866582 w 4868729"/>
              <a:gd name="connsiteY3" fmla="*/ 3570880 h 7790893"/>
              <a:gd name="connsiteX4" fmla="*/ 2751492 w 4868729"/>
              <a:gd name="connsiteY4" fmla="*/ 7114180 h 7790893"/>
              <a:gd name="connsiteX5" fmla="*/ 192597 w 4868729"/>
              <a:gd name="connsiteY5" fmla="*/ 7111990 h 7790893"/>
              <a:gd name="connsiteX0" fmla="*/ 135176 w 4811308"/>
              <a:gd name="connsiteY0" fmla="*/ 7105556 h 7782125"/>
              <a:gd name="connsiteX1" fmla="*/ 336411 w 4811308"/>
              <a:gd name="connsiteY1" fmla="*/ 457582 h 7782125"/>
              <a:gd name="connsiteX2" fmla="*/ 3045763 w 4811308"/>
              <a:gd name="connsiteY2" fmla="*/ 249746 h 7782125"/>
              <a:gd name="connsiteX3" fmla="*/ 4809161 w 4811308"/>
              <a:gd name="connsiteY3" fmla="*/ 3564446 h 7782125"/>
              <a:gd name="connsiteX4" fmla="*/ 2694071 w 4811308"/>
              <a:gd name="connsiteY4" fmla="*/ 7107746 h 7782125"/>
              <a:gd name="connsiteX5" fmla="*/ 135176 w 4811308"/>
              <a:gd name="connsiteY5" fmla="*/ 7105556 h 7782125"/>
              <a:gd name="connsiteX0" fmla="*/ 157213 w 4833345"/>
              <a:gd name="connsiteY0" fmla="*/ 7115639 h 7795816"/>
              <a:gd name="connsiteX1" fmla="*/ 269163 w 4833345"/>
              <a:gd name="connsiteY1" fmla="*/ 415325 h 7795816"/>
              <a:gd name="connsiteX2" fmla="*/ 3067800 w 4833345"/>
              <a:gd name="connsiteY2" fmla="*/ 259829 h 7795816"/>
              <a:gd name="connsiteX3" fmla="*/ 4831198 w 4833345"/>
              <a:gd name="connsiteY3" fmla="*/ 3574529 h 7795816"/>
              <a:gd name="connsiteX4" fmla="*/ 2716108 w 4833345"/>
              <a:gd name="connsiteY4" fmla="*/ 7117829 h 7795816"/>
              <a:gd name="connsiteX5" fmla="*/ 157213 w 4833345"/>
              <a:gd name="connsiteY5" fmla="*/ 7115639 h 7795816"/>
              <a:gd name="connsiteX0" fmla="*/ 156353 w 4832485"/>
              <a:gd name="connsiteY0" fmla="*/ 7115639 h 7795816"/>
              <a:gd name="connsiteX1" fmla="*/ 268303 w 4832485"/>
              <a:gd name="connsiteY1" fmla="*/ 415325 h 7795816"/>
              <a:gd name="connsiteX2" fmla="*/ 3066940 w 4832485"/>
              <a:gd name="connsiteY2" fmla="*/ 259829 h 7795816"/>
              <a:gd name="connsiteX3" fmla="*/ 4830338 w 4832485"/>
              <a:gd name="connsiteY3" fmla="*/ 3574529 h 7795816"/>
              <a:gd name="connsiteX4" fmla="*/ 2715248 w 4832485"/>
              <a:gd name="connsiteY4" fmla="*/ 7117829 h 7795816"/>
              <a:gd name="connsiteX5" fmla="*/ 156353 w 4832485"/>
              <a:gd name="connsiteY5" fmla="*/ 7115639 h 7795816"/>
              <a:gd name="connsiteX0" fmla="*/ 162218 w 4838350"/>
              <a:gd name="connsiteY0" fmla="*/ 7153758 h 7845421"/>
              <a:gd name="connsiteX1" fmla="*/ 252617 w 4838350"/>
              <a:gd name="connsiteY1" fmla="*/ 287189 h 7845421"/>
              <a:gd name="connsiteX2" fmla="*/ 3072805 w 4838350"/>
              <a:gd name="connsiteY2" fmla="*/ 297948 h 7845421"/>
              <a:gd name="connsiteX3" fmla="*/ 4836203 w 4838350"/>
              <a:gd name="connsiteY3" fmla="*/ 3612648 h 7845421"/>
              <a:gd name="connsiteX4" fmla="*/ 2721113 w 4838350"/>
              <a:gd name="connsiteY4" fmla="*/ 7155948 h 7845421"/>
              <a:gd name="connsiteX5" fmla="*/ 162218 w 4838350"/>
              <a:gd name="connsiteY5" fmla="*/ 7153758 h 7845421"/>
              <a:gd name="connsiteX0" fmla="*/ 162218 w 4838350"/>
              <a:gd name="connsiteY0" fmla="*/ 7127231 h 7811232"/>
              <a:gd name="connsiteX1" fmla="*/ 252617 w 4838350"/>
              <a:gd name="connsiteY1" fmla="*/ 371498 h 7811232"/>
              <a:gd name="connsiteX2" fmla="*/ 3072805 w 4838350"/>
              <a:gd name="connsiteY2" fmla="*/ 271421 h 7811232"/>
              <a:gd name="connsiteX3" fmla="*/ 4836203 w 4838350"/>
              <a:gd name="connsiteY3" fmla="*/ 3586121 h 7811232"/>
              <a:gd name="connsiteX4" fmla="*/ 2721113 w 4838350"/>
              <a:gd name="connsiteY4" fmla="*/ 7129421 h 7811232"/>
              <a:gd name="connsiteX5" fmla="*/ 162218 w 4838350"/>
              <a:gd name="connsiteY5" fmla="*/ 7127231 h 7811232"/>
              <a:gd name="connsiteX0" fmla="*/ 169100 w 4845232"/>
              <a:gd name="connsiteY0" fmla="*/ 7127237 h 7811238"/>
              <a:gd name="connsiteX1" fmla="*/ 259499 w 4845232"/>
              <a:gd name="connsiteY1" fmla="*/ 371504 h 7811238"/>
              <a:gd name="connsiteX2" fmla="*/ 3079687 w 4845232"/>
              <a:gd name="connsiteY2" fmla="*/ 271427 h 7811238"/>
              <a:gd name="connsiteX3" fmla="*/ 4843085 w 4845232"/>
              <a:gd name="connsiteY3" fmla="*/ 3586127 h 7811238"/>
              <a:gd name="connsiteX4" fmla="*/ 2727995 w 4845232"/>
              <a:gd name="connsiteY4" fmla="*/ 7129427 h 7811238"/>
              <a:gd name="connsiteX5" fmla="*/ 169100 w 4845232"/>
              <a:gd name="connsiteY5" fmla="*/ 7127237 h 7811238"/>
              <a:gd name="connsiteX0" fmla="*/ 219843 w 4895975"/>
              <a:gd name="connsiteY0" fmla="*/ 7118137 h 7799163"/>
              <a:gd name="connsiteX1" fmla="*/ 162460 w 4895975"/>
              <a:gd name="connsiteY1" fmla="*/ 405507 h 7799163"/>
              <a:gd name="connsiteX2" fmla="*/ 3130430 w 4895975"/>
              <a:gd name="connsiteY2" fmla="*/ 262327 h 7799163"/>
              <a:gd name="connsiteX3" fmla="*/ 4893828 w 4895975"/>
              <a:gd name="connsiteY3" fmla="*/ 3577027 h 7799163"/>
              <a:gd name="connsiteX4" fmla="*/ 2778738 w 4895975"/>
              <a:gd name="connsiteY4" fmla="*/ 7120327 h 7799163"/>
              <a:gd name="connsiteX5" fmla="*/ 219843 w 4895975"/>
              <a:gd name="connsiteY5" fmla="*/ 7118137 h 7799163"/>
              <a:gd name="connsiteX0" fmla="*/ 202277 w 4878409"/>
              <a:gd name="connsiteY0" fmla="*/ 7113808 h 7793348"/>
              <a:gd name="connsiteX1" fmla="*/ 191076 w 4878409"/>
              <a:gd name="connsiteY1" fmla="*/ 422730 h 7793348"/>
              <a:gd name="connsiteX2" fmla="*/ 3112864 w 4878409"/>
              <a:gd name="connsiteY2" fmla="*/ 257998 h 7793348"/>
              <a:gd name="connsiteX3" fmla="*/ 4876262 w 4878409"/>
              <a:gd name="connsiteY3" fmla="*/ 3572698 h 7793348"/>
              <a:gd name="connsiteX4" fmla="*/ 2761172 w 4878409"/>
              <a:gd name="connsiteY4" fmla="*/ 7115998 h 7793348"/>
              <a:gd name="connsiteX5" fmla="*/ 202277 w 4878409"/>
              <a:gd name="connsiteY5" fmla="*/ 7113808 h 7793348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85583 w 4761715"/>
              <a:gd name="connsiteY0" fmla="*/ 7107672 h 7785019"/>
              <a:gd name="connsiteX1" fmla="*/ 82333 w 4761715"/>
              <a:gd name="connsiteY1" fmla="*/ 448399 h 7785019"/>
              <a:gd name="connsiteX2" fmla="*/ 2996170 w 4761715"/>
              <a:gd name="connsiteY2" fmla="*/ 251862 h 7785019"/>
              <a:gd name="connsiteX3" fmla="*/ 4759568 w 4761715"/>
              <a:gd name="connsiteY3" fmla="*/ 3566562 h 7785019"/>
              <a:gd name="connsiteX4" fmla="*/ 2644478 w 4761715"/>
              <a:gd name="connsiteY4" fmla="*/ 7109862 h 7785019"/>
              <a:gd name="connsiteX5" fmla="*/ 85583 w 4761715"/>
              <a:gd name="connsiteY5" fmla="*/ 7107672 h 7785019"/>
              <a:gd name="connsiteX0" fmla="*/ 85583 w 4761715"/>
              <a:gd name="connsiteY0" fmla="*/ 7074631 h 7751978"/>
              <a:gd name="connsiteX1" fmla="*/ 82333 w 4761715"/>
              <a:gd name="connsiteY1" fmla="*/ 415358 h 7751978"/>
              <a:gd name="connsiteX2" fmla="*/ 2996170 w 4761715"/>
              <a:gd name="connsiteY2" fmla="*/ 218821 h 7751978"/>
              <a:gd name="connsiteX3" fmla="*/ 4759568 w 4761715"/>
              <a:gd name="connsiteY3" fmla="*/ 3533521 h 7751978"/>
              <a:gd name="connsiteX4" fmla="*/ 2644478 w 4761715"/>
              <a:gd name="connsiteY4" fmla="*/ 7076821 h 7751978"/>
              <a:gd name="connsiteX5" fmla="*/ 85583 w 4761715"/>
              <a:gd name="connsiteY5" fmla="*/ 7074631 h 7751978"/>
              <a:gd name="connsiteX0" fmla="*/ 157610 w 4833742"/>
              <a:gd name="connsiteY0" fmla="*/ 7074631 h 7751978"/>
              <a:gd name="connsiteX1" fmla="*/ 154360 w 4833742"/>
              <a:gd name="connsiteY1" fmla="*/ 415358 h 7751978"/>
              <a:gd name="connsiteX2" fmla="*/ 3068197 w 4833742"/>
              <a:gd name="connsiteY2" fmla="*/ 218821 h 7751978"/>
              <a:gd name="connsiteX3" fmla="*/ 4831595 w 4833742"/>
              <a:gd name="connsiteY3" fmla="*/ 3533521 h 7751978"/>
              <a:gd name="connsiteX4" fmla="*/ 2716505 w 4833742"/>
              <a:gd name="connsiteY4" fmla="*/ 7076821 h 7751978"/>
              <a:gd name="connsiteX5" fmla="*/ 157610 w 4833742"/>
              <a:gd name="connsiteY5" fmla="*/ 7074631 h 7751978"/>
              <a:gd name="connsiteX0" fmla="*/ 345911 w 5022043"/>
              <a:gd name="connsiteY0" fmla="*/ 7098958 h 7776305"/>
              <a:gd name="connsiteX1" fmla="*/ 342661 w 5022043"/>
              <a:gd name="connsiteY1" fmla="*/ 439685 h 7776305"/>
              <a:gd name="connsiteX2" fmla="*/ 3256498 w 5022043"/>
              <a:gd name="connsiteY2" fmla="*/ 243148 h 7776305"/>
              <a:gd name="connsiteX3" fmla="*/ 5019896 w 5022043"/>
              <a:gd name="connsiteY3" fmla="*/ 3557848 h 7776305"/>
              <a:gd name="connsiteX4" fmla="*/ 2904806 w 5022043"/>
              <a:gd name="connsiteY4" fmla="*/ 7101148 h 7776305"/>
              <a:gd name="connsiteX5" fmla="*/ 345911 w 5022043"/>
              <a:gd name="connsiteY5" fmla="*/ 7098958 h 7776305"/>
              <a:gd name="connsiteX0" fmla="*/ 190117 w 4866249"/>
              <a:gd name="connsiteY0" fmla="*/ 7193225 h 7870572"/>
              <a:gd name="connsiteX1" fmla="*/ 186867 w 4866249"/>
              <a:gd name="connsiteY1" fmla="*/ 533952 h 7870572"/>
              <a:gd name="connsiteX2" fmla="*/ 3100704 w 4866249"/>
              <a:gd name="connsiteY2" fmla="*/ 337415 h 7870572"/>
              <a:gd name="connsiteX3" fmla="*/ 4864102 w 4866249"/>
              <a:gd name="connsiteY3" fmla="*/ 3652115 h 7870572"/>
              <a:gd name="connsiteX4" fmla="*/ 2749012 w 4866249"/>
              <a:gd name="connsiteY4" fmla="*/ 7195415 h 7870572"/>
              <a:gd name="connsiteX5" fmla="*/ 190117 w 4866249"/>
              <a:gd name="connsiteY5" fmla="*/ 7193225 h 7870572"/>
              <a:gd name="connsiteX0" fmla="*/ 188894 w 4865026"/>
              <a:gd name="connsiteY0" fmla="*/ 7274677 h 7967496"/>
              <a:gd name="connsiteX1" fmla="*/ 189317 w 4865026"/>
              <a:gd name="connsiteY1" fmla="*/ 391394 h 7967496"/>
              <a:gd name="connsiteX2" fmla="*/ 3099481 w 4865026"/>
              <a:gd name="connsiteY2" fmla="*/ 418867 h 7967496"/>
              <a:gd name="connsiteX3" fmla="*/ 4862879 w 4865026"/>
              <a:gd name="connsiteY3" fmla="*/ 3733567 h 7967496"/>
              <a:gd name="connsiteX4" fmla="*/ 2747789 w 4865026"/>
              <a:gd name="connsiteY4" fmla="*/ 7276867 h 7967496"/>
              <a:gd name="connsiteX5" fmla="*/ 188894 w 4865026"/>
              <a:gd name="connsiteY5" fmla="*/ 7274677 h 7967496"/>
              <a:gd name="connsiteX0" fmla="*/ 192591 w 4868723"/>
              <a:gd name="connsiteY0" fmla="*/ 7277850 h 7971178"/>
              <a:gd name="connsiteX1" fmla="*/ 181997 w 4868723"/>
              <a:gd name="connsiteY1" fmla="*/ 387222 h 7971178"/>
              <a:gd name="connsiteX2" fmla="*/ 3103178 w 4868723"/>
              <a:gd name="connsiteY2" fmla="*/ 422040 h 7971178"/>
              <a:gd name="connsiteX3" fmla="*/ 4866576 w 4868723"/>
              <a:gd name="connsiteY3" fmla="*/ 3736740 h 7971178"/>
              <a:gd name="connsiteX4" fmla="*/ 2751486 w 4868723"/>
              <a:gd name="connsiteY4" fmla="*/ 7280040 h 7971178"/>
              <a:gd name="connsiteX5" fmla="*/ 192591 w 4868723"/>
              <a:gd name="connsiteY5" fmla="*/ 7277850 h 7971178"/>
              <a:gd name="connsiteX0" fmla="*/ 193427 w 4869559"/>
              <a:gd name="connsiteY0" fmla="*/ 7163116 h 7856444"/>
              <a:gd name="connsiteX1" fmla="*/ 182833 w 4869559"/>
              <a:gd name="connsiteY1" fmla="*/ 272488 h 7856444"/>
              <a:gd name="connsiteX2" fmla="*/ 3104014 w 4869559"/>
              <a:gd name="connsiteY2" fmla="*/ 307306 h 7856444"/>
              <a:gd name="connsiteX3" fmla="*/ 4867412 w 4869559"/>
              <a:gd name="connsiteY3" fmla="*/ 3622006 h 7856444"/>
              <a:gd name="connsiteX4" fmla="*/ 2752322 w 4869559"/>
              <a:gd name="connsiteY4" fmla="*/ 7165306 h 7856444"/>
              <a:gd name="connsiteX5" fmla="*/ 193427 w 4869559"/>
              <a:gd name="connsiteY5" fmla="*/ 7163116 h 7856444"/>
              <a:gd name="connsiteX0" fmla="*/ 170155 w 4846287"/>
              <a:gd name="connsiteY0" fmla="*/ 7143047 h 7831040"/>
              <a:gd name="connsiteX1" fmla="*/ 233007 w 4846287"/>
              <a:gd name="connsiteY1" fmla="*/ 329537 h 7831040"/>
              <a:gd name="connsiteX2" fmla="*/ 3080742 w 4846287"/>
              <a:gd name="connsiteY2" fmla="*/ 287237 h 7831040"/>
              <a:gd name="connsiteX3" fmla="*/ 4844140 w 4846287"/>
              <a:gd name="connsiteY3" fmla="*/ 3601937 h 7831040"/>
              <a:gd name="connsiteX4" fmla="*/ 2729050 w 4846287"/>
              <a:gd name="connsiteY4" fmla="*/ 7145237 h 7831040"/>
              <a:gd name="connsiteX5" fmla="*/ 170155 w 4846287"/>
              <a:gd name="connsiteY5" fmla="*/ 7143047 h 7831040"/>
              <a:gd name="connsiteX0" fmla="*/ 188486 w 4864618"/>
              <a:gd name="connsiteY0" fmla="*/ 7162098 h 7855172"/>
              <a:gd name="connsiteX1" fmla="*/ 192581 w 4864618"/>
              <a:gd name="connsiteY1" fmla="*/ 275143 h 7855172"/>
              <a:gd name="connsiteX2" fmla="*/ 3099073 w 4864618"/>
              <a:gd name="connsiteY2" fmla="*/ 306288 h 7855172"/>
              <a:gd name="connsiteX3" fmla="*/ 4862471 w 4864618"/>
              <a:gd name="connsiteY3" fmla="*/ 3620988 h 7855172"/>
              <a:gd name="connsiteX4" fmla="*/ 2747381 w 4864618"/>
              <a:gd name="connsiteY4" fmla="*/ 7164288 h 7855172"/>
              <a:gd name="connsiteX5" fmla="*/ 188486 w 4864618"/>
              <a:gd name="connsiteY5" fmla="*/ 7162098 h 785517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181559 h 7874633"/>
              <a:gd name="connsiteX1" fmla="*/ 344138 w 5016181"/>
              <a:gd name="connsiteY1" fmla="*/ 294604 h 7874633"/>
              <a:gd name="connsiteX2" fmla="*/ 3254303 w 5016181"/>
              <a:gd name="connsiteY2" fmla="*/ 296371 h 7874633"/>
              <a:gd name="connsiteX3" fmla="*/ 5014028 w 5016181"/>
              <a:gd name="connsiteY3" fmla="*/ 3640449 h 7874633"/>
              <a:gd name="connsiteX4" fmla="*/ 2898938 w 5016181"/>
              <a:gd name="connsiteY4" fmla="*/ 7183749 h 7874633"/>
              <a:gd name="connsiteX5" fmla="*/ 340043 w 5016181"/>
              <a:gd name="connsiteY5" fmla="*/ 7181559 h 7874633"/>
              <a:gd name="connsiteX0" fmla="*/ 340043 w 5016181"/>
              <a:gd name="connsiteY0" fmla="*/ 7183197 h 7876271"/>
              <a:gd name="connsiteX1" fmla="*/ 344138 w 5016181"/>
              <a:gd name="connsiteY1" fmla="*/ 296242 h 7876271"/>
              <a:gd name="connsiteX2" fmla="*/ 3254303 w 5016181"/>
              <a:gd name="connsiteY2" fmla="*/ 298009 h 7876271"/>
              <a:gd name="connsiteX3" fmla="*/ 5014028 w 5016181"/>
              <a:gd name="connsiteY3" fmla="*/ 3642087 h 7876271"/>
              <a:gd name="connsiteX4" fmla="*/ 2898938 w 5016181"/>
              <a:gd name="connsiteY4" fmla="*/ 7185387 h 7876271"/>
              <a:gd name="connsiteX5" fmla="*/ 340043 w 5016181"/>
              <a:gd name="connsiteY5" fmla="*/ 7183197 h 7876271"/>
              <a:gd name="connsiteX0" fmla="*/ 340043 w 5016181"/>
              <a:gd name="connsiteY0" fmla="*/ 7184031 h 7877324"/>
              <a:gd name="connsiteX1" fmla="*/ 344138 w 5016181"/>
              <a:gd name="connsiteY1" fmla="*/ 293901 h 7877324"/>
              <a:gd name="connsiteX2" fmla="*/ 3254303 w 5016181"/>
              <a:gd name="connsiteY2" fmla="*/ 298843 h 7877324"/>
              <a:gd name="connsiteX3" fmla="*/ 5014028 w 5016181"/>
              <a:gd name="connsiteY3" fmla="*/ 3642921 h 7877324"/>
              <a:gd name="connsiteX4" fmla="*/ 2898938 w 5016181"/>
              <a:gd name="connsiteY4" fmla="*/ 7186221 h 7877324"/>
              <a:gd name="connsiteX5" fmla="*/ 340043 w 5016181"/>
              <a:gd name="connsiteY5" fmla="*/ 7184031 h 7877324"/>
              <a:gd name="connsiteX0" fmla="*/ 338200 w 5014338"/>
              <a:gd name="connsiteY0" fmla="*/ 7184031 h 7877324"/>
              <a:gd name="connsiteX1" fmla="*/ 345470 w 5014338"/>
              <a:gd name="connsiteY1" fmla="*/ 293901 h 7877324"/>
              <a:gd name="connsiteX2" fmla="*/ 3252460 w 5014338"/>
              <a:gd name="connsiteY2" fmla="*/ 298843 h 7877324"/>
              <a:gd name="connsiteX3" fmla="*/ 5012185 w 5014338"/>
              <a:gd name="connsiteY3" fmla="*/ 3642921 h 7877324"/>
              <a:gd name="connsiteX4" fmla="*/ 2897095 w 5014338"/>
              <a:gd name="connsiteY4" fmla="*/ 7186221 h 7877324"/>
              <a:gd name="connsiteX5" fmla="*/ 338200 w 5014338"/>
              <a:gd name="connsiteY5" fmla="*/ 7184031 h 7877324"/>
              <a:gd name="connsiteX0" fmla="*/ 338200 w 5014338"/>
              <a:gd name="connsiteY0" fmla="*/ 7183318 h 7876611"/>
              <a:gd name="connsiteX1" fmla="*/ 345470 w 5014338"/>
              <a:gd name="connsiteY1" fmla="*/ 293188 h 7876611"/>
              <a:gd name="connsiteX2" fmla="*/ 3252460 w 5014338"/>
              <a:gd name="connsiteY2" fmla="*/ 298130 h 7876611"/>
              <a:gd name="connsiteX3" fmla="*/ 5012185 w 5014338"/>
              <a:gd name="connsiteY3" fmla="*/ 3642208 h 7876611"/>
              <a:gd name="connsiteX4" fmla="*/ 2897095 w 5014338"/>
              <a:gd name="connsiteY4" fmla="*/ 7185508 h 7876611"/>
              <a:gd name="connsiteX5" fmla="*/ 338200 w 5014338"/>
              <a:gd name="connsiteY5" fmla="*/ 7183318 h 7876611"/>
              <a:gd name="connsiteX0" fmla="*/ 189227 w 4865365"/>
              <a:gd name="connsiteY0" fmla="*/ 7183318 h 7876611"/>
              <a:gd name="connsiteX1" fmla="*/ 196497 w 4865365"/>
              <a:gd name="connsiteY1" fmla="*/ 293188 h 7876611"/>
              <a:gd name="connsiteX2" fmla="*/ 3103487 w 4865365"/>
              <a:gd name="connsiteY2" fmla="*/ 298130 h 7876611"/>
              <a:gd name="connsiteX3" fmla="*/ 4863212 w 4865365"/>
              <a:gd name="connsiteY3" fmla="*/ 3642208 h 7876611"/>
              <a:gd name="connsiteX4" fmla="*/ 2748122 w 4865365"/>
              <a:gd name="connsiteY4" fmla="*/ 7185508 h 7876611"/>
              <a:gd name="connsiteX5" fmla="*/ 189227 w 4865365"/>
              <a:gd name="connsiteY5" fmla="*/ 7183318 h 7876611"/>
              <a:gd name="connsiteX0" fmla="*/ 192432 w 4868570"/>
              <a:gd name="connsiteY0" fmla="*/ 7183318 h 7876611"/>
              <a:gd name="connsiteX1" fmla="*/ 190177 w 4868570"/>
              <a:gd name="connsiteY1" fmla="*/ 293188 h 7876611"/>
              <a:gd name="connsiteX2" fmla="*/ 3106692 w 4868570"/>
              <a:gd name="connsiteY2" fmla="*/ 298130 h 7876611"/>
              <a:gd name="connsiteX3" fmla="*/ 4866417 w 4868570"/>
              <a:gd name="connsiteY3" fmla="*/ 3642208 h 7876611"/>
              <a:gd name="connsiteX4" fmla="*/ 2751327 w 4868570"/>
              <a:gd name="connsiteY4" fmla="*/ 7185508 h 7876611"/>
              <a:gd name="connsiteX5" fmla="*/ 192432 w 4868570"/>
              <a:gd name="connsiteY5" fmla="*/ 7183318 h 7876611"/>
              <a:gd name="connsiteX0" fmla="*/ 190287 w 4866425"/>
              <a:gd name="connsiteY0" fmla="*/ 7183318 h 7876611"/>
              <a:gd name="connsiteX1" fmla="*/ 188032 w 4866425"/>
              <a:gd name="connsiteY1" fmla="*/ 293188 h 7876611"/>
              <a:gd name="connsiteX2" fmla="*/ 3104547 w 4866425"/>
              <a:gd name="connsiteY2" fmla="*/ 298130 h 7876611"/>
              <a:gd name="connsiteX3" fmla="*/ 4864272 w 4866425"/>
              <a:gd name="connsiteY3" fmla="*/ 3642208 h 7876611"/>
              <a:gd name="connsiteX4" fmla="*/ 2749182 w 4866425"/>
              <a:gd name="connsiteY4" fmla="*/ 7185508 h 7876611"/>
              <a:gd name="connsiteX5" fmla="*/ 190287 w 4866425"/>
              <a:gd name="connsiteY5" fmla="*/ 7183318 h 7876611"/>
              <a:gd name="connsiteX0" fmla="*/ 190287 w 4866425"/>
              <a:gd name="connsiteY0" fmla="*/ 7154743 h 7859802"/>
              <a:gd name="connsiteX1" fmla="*/ 188032 w 4866425"/>
              <a:gd name="connsiteY1" fmla="*/ 293188 h 7859802"/>
              <a:gd name="connsiteX2" fmla="*/ 3104547 w 4866425"/>
              <a:gd name="connsiteY2" fmla="*/ 298130 h 7859802"/>
              <a:gd name="connsiteX3" fmla="*/ 4864272 w 4866425"/>
              <a:gd name="connsiteY3" fmla="*/ 3642208 h 7859802"/>
              <a:gd name="connsiteX4" fmla="*/ 2749182 w 4866425"/>
              <a:gd name="connsiteY4" fmla="*/ 7185508 h 7859802"/>
              <a:gd name="connsiteX5" fmla="*/ 190287 w 4866425"/>
              <a:gd name="connsiteY5" fmla="*/ 7154743 h 7859802"/>
              <a:gd name="connsiteX0" fmla="*/ 2255 w 4678393"/>
              <a:gd name="connsiteY0" fmla="*/ 7154743 h 7872894"/>
              <a:gd name="connsiteX1" fmla="*/ 0 w 4678393"/>
              <a:gd name="connsiteY1" fmla="*/ 293188 h 7872894"/>
              <a:gd name="connsiteX2" fmla="*/ 2916515 w 4678393"/>
              <a:gd name="connsiteY2" fmla="*/ 298130 h 7872894"/>
              <a:gd name="connsiteX3" fmla="*/ 4676240 w 4678393"/>
              <a:gd name="connsiteY3" fmla="*/ 3642208 h 7872894"/>
              <a:gd name="connsiteX4" fmla="*/ 2561150 w 4678393"/>
              <a:gd name="connsiteY4" fmla="*/ 7185508 h 7872894"/>
              <a:gd name="connsiteX5" fmla="*/ 2255 w 4678393"/>
              <a:gd name="connsiteY5" fmla="*/ 7154743 h 7872894"/>
              <a:gd name="connsiteX0" fmla="*/ 2822 w 4678960"/>
              <a:gd name="connsiteY0" fmla="*/ 7154743 h 7874206"/>
              <a:gd name="connsiteX1" fmla="*/ 567 w 4678960"/>
              <a:gd name="connsiteY1" fmla="*/ 293188 h 7874206"/>
              <a:gd name="connsiteX2" fmla="*/ 2917082 w 4678960"/>
              <a:gd name="connsiteY2" fmla="*/ 298130 h 7874206"/>
              <a:gd name="connsiteX3" fmla="*/ 4676807 w 4678960"/>
              <a:gd name="connsiteY3" fmla="*/ 3642208 h 7874206"/>
              <a:gd name="connsiteX4" fmla="*/ 2561717 w 4678960"/>
              <a:gd name="connsiteY4" fmla="*/ 7185508 h 7874206"/>
              <a:gd name="connsiteX5" fmla="*/ 2822 w 4678960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473936"/>
              <a:gd name="connsiteX1" fmla="*/ 0 w 4678393"/>
              <a:gd name="connsiteY1" fmla="*/ 293188 h 7473936"/>
              <a:gd name="connsiteX2" fmla="*/ 2916515 w 4678393"/>
              <a:gd name="connsiteY2" fmla="*/ 298130 h 7473936"/>
              <a:gd name="connsiteX3" fmla="*/ 4676240 w 4678393"/>
              <a:gd name="connsiteY3" fmla="*/ 3642208 h 7473936"/>
              <a:gd name="connsiteX4" fmla="*/ 2561150 w 4678393"/>
              <a:gd name="connsiteY4" fmla="*/ 7185508 h 7473936"/>
              <a:gd name="connsiteX5" fmla="*/ 2255 w 4678393"/>
              <a:gd name="connsiteY5" fmla="*/ 7154743 h 7473936"/>
              <a:gd name="connsiteX0" fmla="*/ 2255 w 4678393"/>
              <a:gd name="connsiteY0" fmla="*/ 7154743 h 7450206"/>
              <a:gd name="connsiteX1" fmla="*/ 0 w 4678393"/>
              <a:gd name="connsiteY1" fmla="*/ 293188 h 7450206"/>
              <a:gd name="connsiteX2" fmla="*/ 2916515 w 4678393"/>
              <a:gd name="connsiteY2" fmla="*/ 298130 h 7450206"/>
              <a:gd name="connsiteX3" fmla="*/ 4676240 w 4678393"/>
              <a:gd name="connsiteY3" fmla="*/ 3642208 h 7450206"/>
              <a:gd name="connsiteX4" fmla="*/ 2564325 w 4678393"/>
              <a:gd name="connsiteY4" fmla="*/ 7153758 h 7450206"/>
              <a:gd name="connsiteX5" fmla="*/ 2255 w 4678393"/>
              <a:gd name="connsiteY5" fmla="*/ 7154743 h 7450206"/>
              <a:gd name="connsiteX0" fmla="*/ 2255 w 4678393"/>
              <a:gd name="connsiteY0" fmla="*/ 7154743 h 7154743"/>
              <a:gd name="connsiteX1" fmla="*/ 0 w 4678393"/>
              <a:gd name="connsiteY1" fmla="*/ 293188 h 7154743"/>
              <a:gd name="connsiteX2" fmla="*/ 2916515 w 4678393"/>
              <a:gd name="connsiteY2" fmla="*/ 298130 h 7154743"/>
              <a:gd name="connsiteX3" fmla="*/ 4676240 w 4678393"/>
              <a:gd name="connsiteY3" fmla="*/ 3642208 h 7154743"/>
              <a:gd name="connsiteX4" fmla="*/ 2564325 w 4678393"/>
              <a:gd name="connsiteY4" fmla="*/ 7153758 h 7154743"/>
              <a:gd name="connsiteX5" fmla="*/ 2255 w 4678393"/>
              <a:gd name="connsiteY5" fmla="*/ 7154743 h 7154743"/>
              <a:gd name="connsiteX0" fmla="*/ 2255 w 4678393"/>
              <a:gd name="connsiteY0" fmla="*/ 6861555 h 6861555"/>
              <a:gd name="connsiteX1" fmla="*/ 0 w 4678393"/>
              <a:gd name="connsiteY1" fmla="*/ 0 h 6861555"/>
              <a:gd name="connsiteX2" fmla="*/ 2916515 w 4678393"/>
              <a:gd name="connsiteY2" fmla="*/ 4942 h 6861555"/>
              <a:gd name="connsiteX3" fmla="*/ 4676240 w 4678393"/>
              <a:gd name="connsiteY3" fmla="*/ 3349020 h 6861555"/>
              <a:gd name="connsiteX4" fmla="*/ 2564325 w 4678393"/>
              <a:gd name="connsiteY4" fmla="*/ 6860570 h 6861555"/>
              <a:gd name="connsiteX5" fmla="*/ 2255 w 4678393"/>
              <a:gd name="connsiteY5" fmla="*/ 6861555 h 6861555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9009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8377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3061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71578"/>
              <a:gd name="connsiteX1" fmla="*/ 0 w 4678399"/>
              <a:gd name="connsiteY1" fmla="*/ 1408 h 6871578"/>
              <a:gd name="connsiteX2" fmla="*/ 2919690 w 4678399"/>
              <a:gd name="connsiteY2" fmla="*/ 0 h 6871578"/>
              <a:gd name="connsiteX3" fmla="*/ 4676240 w 4678399"/>
              <a:gd name="connsiteY3" fmla="*/ 3350428 h 6871578"/>
              <a:gd name="connsiteX4" fmla="*/ 2521796 w 4678399"/>
              <a:gd name="connsiteY4" fmla="*/ 6871578 h 6871578"/>
              <a:gd name="connsiteX5" fmla="*/ 2255 w 4678399"/>
              <a:gd name="connsiteY5" fmla="*/ 6862963 h 6871578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6240" h="6862963">
                <a:moveTo>
                  <a:pt x="2255" y="6862963"/>
                </a:moveTo>
                <a:cubicBezTo>
                  <a:pt x="847" y="5679318"/>
                  <a:pt x="65" y="1117189"/>
                  <a:pt x="0" y="1408"/>
                </a:cubicBezTo>
                <a:lnTo>
                  <a:pt x="2919690" y="0"/>
                </a:lnTo>
                <a:cubicBezTo>
                  <a:pt x="3347209" y="321191"/>
                  <a:pt x="4644479" y="1245147"/>
                  <a:pt x="4676240" y="3350428"/>
                </a:cubicBezTo>
                <a:cubicBezTo>
                  <a:pt x="4625578" y="5097946"/>
                  <a:pt x="3667890" y="6255680"/>
                  <a:pt x="2516480" y="6860945"/>
                </a:cubicBezTo>
                <a:lnTo>
                  <a:pt x="2255" y="6862963"/>
                </a:lnTo>
                <a:close/>
              </a:path>
            </a:pathLst>
          </a:custGeom>
          <a:ln>
            <a:noFill/>
          </a:ln>
          <a:extLst>
            <a:ext uri="{91240B29-F687-4f45-9708-019B960494DF}"/>
          </a:extLst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15766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23937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3" descr="white_dots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37585" y="3175"/>
            <a:ext cx="11049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32"/>
          <p:cNvSpPr>
            <a:spLocks noGrp="1"/>
          </p:cNvSpPr>
          <p:nvPr>
            <p:ph type="title"/>
          </p:nvPr>
        </p:nvSpPr>
        <p:spPr>
          <a:xfrm>
            <a:off x="1972733" y="2152650"/>
            <a:ext cx="9558867" cy="2552700"/>
          </a:xfrm>
          <a:prstGeom prst="rect">
            <a:avLst/>
          </a:prstGeom>
        </p:spPr>
        <p:txBody>
          <a:bodyPr vert="horz" anchor="ctr"/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91784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5868DF8-0066-C04C-B523-8450D0A451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533600"/>
            <a:ext cx="560134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D81E9A-BFAC-2649-8EA2-1E71B0607B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2174400"/>
            <a:ext cx="5601346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AB4DA10-386C-0E45-8192-A2D9EB1279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9322" y="1534150"/>
            <a:ext cx="5611678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BA2A10C-A80A-324D-B7BC-4A1C81054B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9322" y="2174950"/>
            <a:ext cx="5611678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92429623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81000" y="1601788"/>
            <a:ext cx="11430000" cy="4525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4187632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rgbClr val="0C0C0C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789884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rgbClr val="0C0C0C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rgbClr val="0C0C0C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rgbClr val="0C0C0C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F9D744F-A08B-5145-BBEA-D42E6BD319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" y="1533600"/>
            <a:ext cx="4430684" cy="44306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8603605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81000" y="1601788"/>
            <a:ext cx="11430000" cy="4525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0909284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2585" y="110949"/>
            <a:ext cx="7138416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72585" y="1533600"/>
            <a:ext cx="713841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72585" y="2174400"/>
            <a:ext cx="7138416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3CA72A1A-CDA5-9A46-A824-8BA40A7BC7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301067" cy="6858000"/>
          </a:xfr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6638166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789884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F9D744F-A08B-5145-BBEA-D42E6BD319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" y="1533600"/>
            <a:ext cx="4430684" cy="44306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9530133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5868DF8-0066-C04C-B523-8450D0A451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533600"/>
            <a:ext cx="560134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D81E9A-BFAC-2649-8EA2-1E71B0607B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2174400"/>
            <a:ext cx="5601346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AB4DA10-386C-0E45-8192-A2D9EB1279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9322" y="1534150"/>
            <a:ext cx="5611678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BA2A10C-A80A-324D-B7BC-4A1C81054B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9322" y="2174950"/>
            <a:ext cx="5611678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80232271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381000" y="1533600"/>
            <a:ext cx="4590288" cy="4593600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052754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 bwMode="ltGray">
          <a:xfrm>
            <a:off x="0" y="-9254"/>
            <a:ext cx="4672584" cy="6867254"/>
          </a:xfrm>
          <a:custGeom>
            <a:avLst/>
            <a:gdLst>
              <a:gd name="connsiteX0" fmla="*/ 0 w 8001000"/>
              <a:gd name="connsiteY0" fmla="*/ 4000500 h 8001000"/>
              <a:gd name="connsiteX1" fmla="*/ 4000500 w 8001000"/>
              <a:gd name="connsiteY1" fmla="*/ 0 h 8001000"/>
              <a:gd name="connsiteX2" fmla="*/ 8001000 w 8001000"/>
              <a:gd name="connsiteY2" fmla="*/ 4000500 h 8001000"/>
              <a:gd name="connsiteX3" fmla="*/ 4000500 w 8001000"/>
              <a:gd name="connsiteY3" fmla="*/ 8001000 h 8001000"/>
              <a:gd name="connsiteX4" fmla="*/ 0 w 8001000"/>
              <a:gd name="connsiteY4" fmla="*/ 4000500 h 8001000"/>
              <a:gd name="connsiteX0" fmla="*/ 0 w 8060683"/>
              <a:gd name="connsiteY0" fmla="*/ 4222799 h 8223299"/>
              <a:gd name="connsiteX1" fmla="*/ 4000500 w 8060683"/>
              <a:gd name="connsiteY1" fmla="*/ 222299 h 8223299"/>
              <a:gd name="connsiteX2" fmla="*/ 6237602 w 8060683"/>
              <a:gd name="connsiteY2" fmla="*/ 908099 h 8223299"/>
              <a:gd name="connsiteX3" fmla="*/ 8001000 w 8060683"/>
              <a:gd name="connsiteY3" fmla="*/ 4222799 h 8223299"/>
              <a:gd name="connsiteX4" fmla="*/ 4000500 w 8060683"/>
              <a:gd name="connsiteY4" fmla="*/ 8223299 h 8223299"/>
              <a:gd name="connsiteX5" fmla="*/ 0 w 8060683"/>
              <a:gd name="connsiteY5" fmla="*/ 4222799 h 8223299"/>
              <a:gd name="connsiteX0" fmla="*/ 8055 w 8068738"/>
              <a:gd name="connsiteY0" fmla="*/ 3760842 h 7761342"/>
              <a:gd name="connsiteX1" fmla="*/ 3296378 w 8068738"/>
              <a:gd name="connsiteY1" fmla="*/ 472519 h 7761342"/>
              <a:gd name="connsiteX2" fmla="*/ 6245657 w 8068738"/>
              <a:gd name="connsiteY2" fmla="*/ 446142 h 7761342"/>
              <a:gd name="connsiteX3" fmla="*/ 8009055 w 8068738"/>
              <a:gd name="connsiteY3" fmla="*/ 3760842 h 7761342"/>
              <a:gd name="connsiteX4" fmla="*/ 4008555 w 8068738"/>
              <a:gd name="connsiteY4" fmla="*/ 7761342 h 7761342"/>
              <a:gd name="connsiteX5" fmla="*/ 8055 w 8068738"/>
              <a:gd name="connsiteY5" fmla="*/ 3760842 h 7761342"/>
              <a:gd name="connsiteX0" fmla="*/ 6123 w 8066806"/>
              <a:gd name="connsiteY0" fmla="*/ 3768834 h 7769334"/>
              <a:gd name="connsiteX1" fmla="*/ 3373577 w 8066806"/>
              <a:gd name="connsiteY1" fmla="*/ 462926 h 7769334"/>
              <a:gd name="connsiteX2" fmla="*/ 6243725 w 8066806"/>
              <a:gd name="connsiteY2" fmla="*/ 454134 h 7769334"/>
              <a:gd name="connsiteX3" fmla="*/ 8007123 w 8066806"/>
              <a:gd name="connsiteY3" fmla="*/ 3768834 h 7769334"/>
              <a:gd name="connsiteX4" fmla="*/ 4006623 w 8066806"/>
              <a:gd name="connsiteY4" fmla="*/ 7769334 h 7769334"/>
              <a:gd name="connsiteX5" fmla="*/ 6123 w 8066806"/>
              <a:gd name="connsiteY5" fmla="*/ 3768834 h 7769334"/>
              <a:gd name="connsiteX0" fmla="*/ 6939 w 8067622"/>
              <a:gd name="connsiteY0" fmla="*/ 3768834 h 7769334"/>
              <a:gd name="connsiteX1" fmla="*/ 3339224 w 8067622"/>
              <a:gd name="connsiteY1" fmla="*/ 462926 h 7769334"/>
              <a:gd name="connsiteX2" fmla="*/ 6244541 w 8067622"/>
              <a:gd name="connsiteY2" fmla="*/ 454134 h 7769334"/>
              <a:gd name="connsiteX3" fmla="*/ 8007939 w 8067622"/>
              <a:gd name="connsiteY3" fmla="*/ 3768834 h 7769334"/>
              <a:gd name="connsiteX4" fmla="*/ 4007439 w 8067622"/>
              <a:gd name="connsiteY4" fmla="*/ 7769334 h 7769334"/>
              <a:gd name="connsiteX5" fmla="*/ 6939 w 8067622"/>
              <a:gd name="connsiteY5" fmla="*/ 3768834 h 7769334"/>
              <a:gd name="connsiteX0" fmla="*/ 6939 w 8010086"/>
              <a:gd name="connsiteY0" fmla="*/ 3768834 h 7984710"/>
              <a:gd name="connsiteX1" fmla="*/ 3339224 w 8010086"/>
              <a:gd name="connsiteY1" fmla="*/ 462926 h 7984710"/>
              <a:gd name="connsiteX2" fmla="*/ 6244541 w 8010086"/>
              <a:gd name="connsiteY2" fmla="*/ 454134 h 7984710"/>
              <a:gd name="connsiteX3" fmla="*/ 8007939 w 8010086"/>
              <a:gd name="connsiteY3" fmla="*/ 3768834 h 7984710"/>
              <a:gd name="connsiteX4" fmla="*/ 5892849 w 8010086"/>
              <a:gd name="connsiteY4" fmla="*/ 7057157 h 7984710"/>
              <a:gd name="connsiteX5" fmla="*/ 4007439 w 8010086"/>
              <a:gd name="connsiteY5" fmla="*/ 7769334 h 7984710"/>
              <a:gd name="connsiteX6" fmla="*/ 6939 w 8010086"/>
              <a:gd name="connsiteY6" fmla="*/ 3768834 h 7984710"/>
              <a:gd name="connsiteX0" fmla="*/ 6939 w 8010086"/>
              <a:gd name="connsiteY0" fmla="*/ 3768834 h 8061801"/>
              <a:gd name="connsiteX1" fmla="*/ 3339224 w 8010086"/>
              <a:gd name="connsiteY1" fmla="*/ 462926 h 8061801"/>
              <a:gd name="connsiteX2" fmla="*/ 6244541 w 8010086"/>
              <a:gd name="connsiteY2" fmla="*/ 454134 h 8061801"/>
              <a:gd name="connsiteX3" fmla="*/ 8007939 w 8010086"/>
              <a:gd name="connsiteY3" fmla="*/ 3768834 h 8061801"/>
              <a:gd name="connsiteX4" fmla="*/ 5892849 w 8010086"/>
              <a:gd name="connsiteY4" fmla="*/ 7312134 h 8061801"/>
              <a:gd name="connsiteX5" fmla="*/ 4007439 w 8010086"/>
              <a:gd name="connsiteY5" fmla="*/ 7769334 h 8061801"/>
              <a:gd name="connsiteX6" fmla="*/ 6939 w 8010086"/>
              <a:gd name="connsiteY6" fmla="*/ 3768834 h 8061801"/>
              <a:gd name="connsiteX0" fmla="*/ 6 w 8003153"/>
              <a:gd name="connsiteY0" fmla="*/ 3768834 h 7779879"/>
              <a:gd name="connsiteX1" fmla="*/ 3332291 w 8003153"/>
              <a:gd name="connsiteY1" fmla="*/ 462926 h 7779879"/>
              <a:gd name="connsiteX2" fmla="*/ 6237608 w 8003153"/>
              <a:gd name="connsiteY2" fmla="*/ 454134 h 7779879"/>
              <a:gd name="connsiteX3" fmla="*/ 8001006 w 8003153"/>
              <a:gd name="connsiteY3" fmla="*/ 3768834 h 7779879"/>
              <a:gd name="connsiteX4" fmla="*/ 5885916 w 8003153"/>
              <a:gd name="connsiteY4" fmla="*/ 7312134 h 7779879"/>
              <a:gd name="connsiteX5" fmla="*/ 3349875 w 8003153"/>
              <a:gd name="connsiteY5" fmla="*/ 7303342 h 7779879"/>
              <a:gd name="connsiteX6" fmla="*/ 6 w 8003153"/>
              <a:gd name="connsiteY6" fmla="*/ 3768834 h 7779879"/>
              <a:gd name="connsiteX0" fmla="*/ 3 w 8003150"/>
              <a:gd name="connsiteY0" fmla="*/ 3768834 h 7775751"/>
              <a:gd name="connsiteX1" fmla="*/ 3332288 w 8003150"/>
              <a:gd name="connsiteY1" fmla="*/ 462926 h 7775751"/>
              <a:gd name="connsiteX2" fmla="*/ 6237605 w 8003150"/>
              <a:gd name="connsiteY2" fmla="*/ 454134 h 7775751"/>
              <a:gd name="connsiteX3" fmla="*/ 8001003 w 8003150"/>
              <a:gd name="connsiteY3" fmla="*/ 3768834 h 7775751"/>
              <a:gd name="connsiteX4" fmla="*/ 5885913 w 8003150"/>
              <a:gd name="connsiteY4" fmla="*/ 7312134 h 7775751"/>
              <a:gd name="connsiteX5" fmla="*/ 3314702 w 8003150"/>
              <a:gd name="connsiteY5" fmla="*/ 7294550 h 7775751"/>
              <a:gd name="connsiteX6" fmla="*/ 3 w 8003150"/>
              <a:gd name="connsiteY6" fmla="*/ 3768834 h 77757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35777 h 7832403"/>
              <a:gd name="connsiteX1" fmla="*/ 664079 w 5334941"/>
              <a:gd name="connsiteY1" fmla="*/ 304153 h 7832403"/>
              <a:gd name="connsiteX2" fmla="*/ 3569396 w 5334941"/>
              <a:gd name="connsiteY2" fmla="*/ 295361 h 7832403"/>
              <a:gd name="connsiteX3" fmla="*/ 5332794 w 5334941"/>
              <a:gd name="connsiteY3" fmla="*/ 3610061 h 7832403"/>
              <a:gd name="connsiteX4" fmla="*/ 3217704 w 5334941"/>
              <a:gd name="connsiteY4" fmla="*/ 7153361 h 7832403"/>
              <a:gd name="connsiteX5" fmla="*/ 646493 w 5334941"/>
              <a:gd name="connsiteY5" fmla="*/ 7135777 h 7832403"/>
              <a:gd name="connsiteX0" fmla="*/ 182720 w 4871168"/>
              <a:gd name="connsiteY0" fmla="*/ 7135777 h 7832403"/>
              <a:gd name="connsiteX1" fmla="*/ 200306 w 4871168"/>
              <a:gd name="connsiteY1" fmla="*/ 304153 h 7832403"/>
              <a:gd name="connsiteX2" fmla="*/ 3105623 w 4871168"/>
              <a:gd name="connsiteY2" fmla="*/ 295361 h 7832403"/>
              <a:gd name="connsiteX3" fmla="*/ 4869021 w 4871168"/>
              <a:gd name="connsiteY3" fmla="*/ 3610061 h 7832403"/>
              <a:gd name="connsiteX4" fmla="*/ 2753931 w 4871168"/>
              <a:gd name="connsiteY4" fmla="*/ 7153361 h 7832403"/>
              <a:gd name="connsiteX5" fmla="*/ 182720 w 4871168"/>
              <a:gd name="connsiteY5" fmla="*/ 7135777 h 7832403"/>
              <a:gd name="connsiteX0" fmla="*/ 182720 w 4871168"/>
              <a:gd name="connsiteY0" fmla="*/ 7124471 h 7821097"/>
              <a:gd name="connsiteX1" fmla="*/ 200306 w 4871168"/>
              <a:gd name="connsiteY1" fmla="*/ 292847 h 7821097"/>
              <a:gd name="connsiteX2" fmla="*/ 3105623 w 4871168"/>
              <a:gd name="connsiteY2" fmla="*/ 284055 h 7821097"/>
              <a:gd name="connsiteX3" fmla="*/ 4869021 w 4871168"/>
              <a:gd name="connsiteY3" fmla="*/ 3598755 h 7821097"/>
              <a:gd name="connsiteX4" fmla="*/ 2753931 w 4871168"/>
              <a:gd name="connsiteY4" fmla="*/ 7142055 h 7821097"/>
              <a:gd name="connsiteX5" fmla="*/ 182720 w 4871168"/>
              <a:gd name="connsiteY5" fmla="*/ 7124471 h 7821097"/>
              <a:gd name="connsiteX0" fmla="*/ 182720 w 4871168"/>
              <a:gd name="connsiteY0" fmla="*/ 7133321 h 7829947"/>
              <a:gd name="connsiteX1" fmla="*/ 200306 w 4871168"/>
              <a:gd name="connsiteY1" fmla="*/ 301697 h 7829947"/>
              <a:gd name="connsiteX2" fmla="*/ 3105623 w 4871168"/>
              <a:gd name="connsiteY2" fmla="*/ 292905 h 7829947"/>
              <a:gd name="connsiteX3" fmla="*/ 4869021 w 4871168"/>
              <a:gd name="connsiteY3" fmla="*/ 3607605 h 7829947"/>
              <a:gd name="connsiteX4" fmla="*/ 2753931 w 4871168"/>
              <a:gd name="connsiteY4" fmla="*/ 7150905 h 7829947"/>
              <a:gd name="connsiteX5" fmla="*/ 182720 w 4871168"/>
              <a:gd name="connsiteY5" fmla="*/ 7133321 h 7829947"/>
              <a:gd name="connsiteX0" fmla="*/ 186720 w 4875168"/>
              <a:gd name="connsiteY0" fmla="*/ 7137599 h 7835370"/>
              <a:gd name="connsiteX1" fmla="*/ 191837 w 4875168"/>
              <a:gd name="connsiteY1" fmla="*/ 289350 h 7835370"/>
              <a:gd name="connsiteX2" fmla="*/ 3109623 w 4875168"/>
              <a:gd name="connsiteY2" fmla="*/ 297183 h 7835370"/>
              <a:gd name="connsiteX3" fmla="*/ 4873021 w 4875168"/>
              <a:gd name="connsiteY3" fmla="*/ 3611883 h 7835370"/>
              <a:gd name="connsiteX4" fmla="*/ 2757931 w 4875168"/>
              <a:gd name="connsiteY4" fmla="*/ 7155183 h 7835370"/>
              <a:gd name="connsiteX5" fmla="*/ 186720 w 4875168"/>
              <a:gd name="connsiteY5" fmla="*/ 7137599 h 7835370"/>
              <a:gd name="connsiteX0" fmla="*/ 171307 w 4859755"/>
              <a:gd name="connsiteY0" fmla="*/ 7112714 h 7803338"/>
              <a:gd name="connsiteX1" fmla="*/ 226300 w 4859755"/>
              <a:gd name="connsiteY1" fmla="*/ 368374 h 7803338"/>
              <a:gd name="connsiteX2" fmla="*/ 3094210 w 4859755"/>
              <a:gd name="connsiteY2" fmla="*/ 272298 h 7803338"/>
              <a:gd name="connsiteX3" fmla="*/ 4857608 w 4859755"/>
              <a:gd name="connsiteY3" fmla="*/ 3586998 h 7803338"/>
              <a:gd name="connsiteX4" fmla="*/ 2742518 w 4859755"/>
              <a:gd name="connsiteY4" fmla="*/ 7130298 h 7803338"/>
              <a:gd name="connsiteX5" fmla="*/ 171307 w 4859755"/>
              <a:gd name="connsiteY5" fmla="*/ 7112714 h 7803338"/>
              <a:gd name="connsiteX0" fmla="*/ 184041 w 4872489"/>
              <a:gd name="connsiteY0" fmla="*/ 7134379 h 7831291"/>
              <a:gd name="connsiteX1" fmla="*/ 197470 w 4872489"/>
              <a:gd name="connsiteY1" fmla="*/ 298599 h 7831291"/>
              <a:gd name="connsiteX2" fmla="*/ 3106944 w 4872489"/>
              <a:gd name="connsiteY2" fmla="*/ 293963 h 7831291"/>
              <a:gd name="connsiteX3" fmla="*/ 4870342 w 4872489"/>
              <a:gd name="connsiteY3" fmla="*/ 3608663 h 7831291"/>
              <a:gd name="connsiteX4" fmla="*/ 2755252 w 4872489"/>
              <a:gd name="connsiteY4" fmla="*/ 7151963 h 7831291"/>
              <a:gd name="connsiteX5" fmla="*/ 184041 w 4872489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9716 w 4868927"/>
              <a:gd name="connsiteY0" fmla="*/ 7152851 h 7842196"/>
              <a:gd name="connsiteX1" fmla="*/ 193908 w 4868927"/>
              <a:gd name="connsiteY1" fmla="*/ 298599 h 7842196"/>
              <a:gd name="connsiteX2" fmla="*/ 3103382 w 4868927"/>
              <a:gd name="connsiteY2" fmla="*/ 293963 h 7842196"/>
              <a:gd name="connsiteX3" fmla="*/ 4866780 w 4868927"/>
              <a:gd name="connsiteY3" fmla="*/ 3608663 h 7842196"/>
              <a:gd name="connsiteX4" fmla="*/ 2751690 w 4868927"/>
              <a:gd name="connsiteY4" fmla="*/ 7151963 h 7842196"/>
              <a:gd name="connsiteX5" fmla="*/ 189716 w 4868927"/>
              <a:gd name="connsiteY5" fmla="*/ 7152851 h 7842196"/>
              <a:gd name="connsiteX0" fmla="*/ 2 w 4679213"/>
              <a:gd name="connsiteY0" fmla="*/ 7152851 h 7447842"/>
              <a:gd name="connsiteX1" fmla="*/ 4194 w 4679213"/>
              <a:gd name="connsiteY1" fmla="*/ 298599 h 7447842"/>
              <a:gd name="connsiteX2" fmla="*/ 2913668 w 4679213"/>
              <a:gd name="connsiteY2" fmla="*/ 293963 h 7447842"/>
              <a:gd name="connsiteX3" fmla="*/ 4677066 w 4679213"/>
              <a:gd name="connsiteY3" fmla="*/ 3608663 h 7447842"/>
              <a:gd name="connsiteX4" fmla="*/ 2561976 w 4679213"/>
              <a:gd name="connsiteY4" fmla="*/ 7151963 h 7447842"/>
              <a:gd name="connsiteX5" fmla="*/ 2 w 4679213"/>
              <a:gd name="connsiteY5" fmla="*/ 7152851 h 7447842"/>
              <a:gd name="connsiteX0" fmla="*/ 232986 w 4675130"/>
              <a:gd name="connsiteY0" fmla="*/ 7082039 h 7430577"/>
              <a:gd name="connsiteX1" fmla="*/ 111 w 4675130"/>
              <a:gd name="connsiteY1" fmla="*/ 298599 h 7430577"/>
              <a:gd name="connsiteX2" fmla="*/ 2909585 w 4675130"/>
              <a:gd name="connsiteY2" fmla="*/ 293963 h 7430577"/>
              <a:gd name="connsiteX3" fmla="*/ 4672983 w 4675130"/>
              <a:gd name="connsiteY3" fmla="*/ 3608663 h 7430577"/>
              <a:gd name="connsiteX4" fmla="*/ 2557893 w 4675130"/>
              <a:gd name="connsiteY4" fmla="*/ 7151963 h 7430577"/>
              <a:gd name="connsiteX5" fmla="*/ 232986 w 4675130"/>
              <a:gd name="connsiteY5" fmla="*/ 7082039 h 7430577"/>
              <a:gd name="connsiteX0" fmla="*/ 1481 w 4677613"/>
              <a:gd name="connsiteY0" fmla="*/ 7149773 h 7447048"/>
              <a:gd name="connsiteX1" fmla="*/ 2594 w 4677613"/>
              <a:gd name="connsiteY1" fmla="*/ 298599 h 7447048"/>
              <a:gd name="connsiteX2" fmla="*/ 2912068 w 4677613"/>
              <a:gd name="connsiteY2" fmla="*/ 293963 h 7447048"/>
              <a:gd name="connsiteX3" fmla="*/ 4675466 w 4677613"/>
              <a:gd name="connsiteY3" fmla="*/ 3608663 h 7447048"/>
              <a:gd name="connsiteX4" fmla="*/ 2560376 w 4677613"/>
              <a:gd name="connsiteY4" fmla="*/ 7151963 h 7447048"/>
              <a:gd name="connsiteX5" fmla="*/ 1481 w 4677613"/>
              <a:gd name="connsiteY5" fmla="*/ 7149773 h 7447048"/>
              <a:gd name="connsiteX0" fmla="*/ 165734 w 4841866"/>
              <a:gd name="connsiteY0" fmla="*/ 7139154 h 7826771"/>
              <a:gd name="connsiteX1" fmla="*/ 246896 w 4841866"/>
              <a:gd name="connsiteY1" fmla="*/ 331083 h 7826771"/>
              <a:gd name="connsiteX2" fmla="*/ 3076321 w 4841866"/>
              <a:gd name="connsiteY2" fmla="*/ 283344 h 7826771"/>
              <a:gd name="connsiteX3" fmla="*/ 4839719 w 4841866"/>
              <a:gd name="connsiteY3" fmla="*/ 3598044 h 7826771"/>
              <a:gd name="connsiteX4" fmla="*/ 2724629 w 4841866"/>
              <a:gd name="connsiteY4" fmla="*/ 7141344 h 7826771"/>
              <a:gd name="connsiteX5" fmla="*/ 165734 w 4841866"/>
              <a:gd name="connsiteY5" fmla="*/ 7139154 h 7826771"/>
              <a:gd name="connsiteX0" fmla="*/ 192597 w 4868729"/>
              <a:gd name="connsiteY0" fmla="*/ 7111990 h 7790893"/>
              <a:gd name="connsiteX1" fmla="*/ 187553 w 4868729"/>
              <a:gd name="connsiteY1" fmla="*/ 430149 h 7790893"/>
              <a:gd name="connsiteX2" fmla="*/ 3103184 w 4868729"/>
              <a:gd name="connsiteY2" fmla="*/ 256180 h 7790893"/>
              <a:gd name="connsiteX3" fmla="*/ 4866582 w 4868729"/>
              <a:gd name="connsiteY3" fmla="*/ 3570880 h 7790893"/>
              <a:gd name="connsiteX4" fmla="*/ 2751492 w 4868729"/>
              <a:gd name="connsiteY4" fmla="*/ 7114180 h 7790893"/>
              <a:gd name="connsiteX5" fmla="*/ 192597 w 4868729"/>
              <a:gd name="connsiteY5" fmla="*/ 7111990 h 7790893"/>
              <a:gd name="connsiteX0" fmla="*/ 135176 w 4811308"/>
              <a:gd name="connsiteY0" fmla="*/ 7105556 h 7782125"/>
              <a:gd name="connsiteX1" fmla="*/ 336411 w 4811308"/>
              <a:gd name="connsiteY1" fmla="*/ 457582 h 7782125"/>
              <a:gd name="connsiteX2" fmla="*/ 3045763 w 4811308"/>
              <a:gd name="connsiteY2" fmla="*/ 249746 h 7782125"/>
              <a:gd name="connsiteX3" fmla="*/ 4809161 w 4811308"/>
              <a:gd name="connsiteY3" fmla="*/ 3564446 h 7782125"/>
              <a:gd name="connsiteX4" fmla="*/ 2694071 w 4811308"/>
              <a:gd name="connsiteY4" fmla="*/ 7107746 h 7782125"/>
              <a:gd name="connsiteX5" fmla="*/ 135176 w 4811308"/>
              <a:gd name="connsiteY5" fmla="*/ 7105556 h 7782125"/>
              <a:gd name="connsiteX0" fmla="*/ 157213 w 4833345"/>
              <a:gd name="connsiteY0" fmla="*/ 7115639 h 7795816"/>
              <a:gd name="connsiteX1" fmla="*/ 269163 w 4833345"/>
              <a:gd name="connsiteY1" fmla="*/ 415325 h 7795816"/>
              <a:gd name="connsiteX2" fmla="*/ 3067800 w 4833345"/>
              <a:gd name="connsiteY2" fmla="*/ 259829 h 7795816"/>
              <a:gd name="connsiteX3" fmla="*/ 4831198 w 4833345"/>
              <a:gd name="connsiteY3" fmla="*/ 3574529 h 7795816"/>
              <a:gd name="connsiteX4" fmla="*/ 2716108 w 4833345"/>
              <a:gd name="connsiteY4" fmla="*/ 7117829 h 7795816"/>
              <a:gd name="connsiteX5" fmla="*/ 157213 w 4833345"/>
              <a:gd name="connsiteY5" fmla="*/ 7115639 h 7795816"/>
              <a:gd name="connsiteX0" fmla="*/ 156353 w 4832485"/>
              <a:gd name="connsiteY0" fmla="*/ 7115639 h 7795816"/>
              <a:gd name="connsiteX1" fmla="*/ 268303 w 4832485"/>
              <a:gd name="connsiteY1" fmla="*/ 415325 h 7795816"/>
              <a:gd name="connsiteX2" fmla="*/ 3066940 w 4832485"/>
              <a:gd name="connsiteY2" fmla="*/ 259829 h 7795816"/>
              <a:gd name="connsiteX3" fmla="*/ 4830338 w 4832485"/>
              <a:gd name="connsiteY3" fmla="*/ 3574529 h 7795816"/>
              <a:gd name="connsiteX4" fmla="*/ 2715248 w 4832485"/>
              <a:gd name="connsiteY4" fmla="*/ 7117829 h 7795816"/>
              <a:gd name="connsiteX5" fmla="*/ 156353 w 4832485"/>
              <a:gd name="connsiteY5" fmla="*/ 7115639 h 7795816"/>
              <a:gd name="connsiteX0" fmla="*/ 162218 w 4838350"/>
              <a:gd name="connsiteY0" fmla="*/ 7153758 h 7845421"/>
              <a:gd name="connsiteX1" fmla="*/ 252617 w 4838350"/>
              <a:gd name="connsiteY1" fmla="*/ 287189 h 7845421"/>
              <a:gd name="connsiteX2" fmla="*/ 3072805 w 4838350"/>
              <a:gd name="connsiteY2" fmla="*/ 297948 h 7845421"/>
              <a:gd name="connsiteX3" fmla="*/ 4836203 w 4838350"/>
              <a:gd name="connsiteY3" fmla="*/ 3612648 h 7845421"/>
              <a:gd name="connsiteX4" fmla="*/ 2721113 w 4838350"/>
              <a:gd name="connsiteY4" fmla="*/ 7155948 h 7845421"/>
              <a:gd name="connsiteX5" fmla="*/ 162218 w 4838350"/>
              <a:gd name="connsiteY5" fmla="*/ 7153758 h 7845421"/>
              <a:gd name="connsiteX0" fmla="*/ 162218 w 4838350"/>
              <a:gd name="connsiteY0" fmla="*/ 7127231 h 7811232"/>
              <a:gd name="connsiteX1" fmla="*/ 252617 w 4838350"/>
              <a:gd name="connsiteY1" fmla="*/ 371498 h 7811232"/>
              <a:gd name="connsiteX2" fmla="*/ 3072805 w 4838350"/>
              <a:gd name="connsiteY2" fmla="*/ 271421 h 7811232"/>
              <a:gd name="connsiteX3" fmla="*/ 4836203 w 4838350"/>
              <a:gd name="connsiteY3" fmla="*/ 3586121 h 7811232"/>
              <a:gd name="connsiteX4" fmla="*/ 2721113 w 4838350"/>
              <a:gd name="connsiteY4" fmla="*/ 7129421 h 7811232"/>
              <a:gd name="connsiteX5" fmla="*/ 162218 w 4838350"/>
              <a:gd name="connsiteY5" fmla="*/ 7127231 h 7811232"/>
              <a:gd name="connsiteX0" fmla="*/ 169100 w 4845232"/>
              <a:gd name="connsiteY0" fmla="*/ 7127237 h 7811238"/>
              <a:gd name="connsiteX1" fmla="*/ 259499 w 4845232"/>
              <a:gd name="connsiteY1" fmla="*/ 371504 h 7811238"/>
              <a:gd name="connsiteX2" fmla="*/ 3079687 w 4845232"/>
              <a:gd name="connsiteY2" fmla="*/ 271427 h 7811238"/>
              <a:gd name="connsiteX3" fmla="*/ 4843085 w 4845232"/>
              <a:gd name="connsiteY3" fmla="*/ 3586127 h 7811238"/>
              <a:gd name="connsiteX4" fmla="*/ 2727995 w 4845232"/>
              <a:gd name="connsiteY4" fmla="*/ 7129427 h 7811238"/>
              <a:gd name="connsiteX5" fmla="*/ 169100 w 4845232"/>
              <a:gd name="connsiteY5" fmla="*/ 7127237 h 7811238"/>
              <a:gd name="connsiteX0" fmla="*/ 219843 w 4895975"/>
              <a:gd name="connsiteY0" fmla="*/ 7118137 h 7799163"/>
              <a:gd name="connsiteX1" fmla="*/ 162460 w 4895975"/>
              <a:gd name="connsiteY1" fmla="*/ 405507 h 7799163"/>
              <a:gd name="connsiteX2" fmla="*/ 3130430 w 4895975"/>
              <a:gd name="connsiteY2" fmla="*/ 262327 h 7799163"/>
              <a:gd name="connsiteX3" fmla="*/ 4893828 w 4895975"/>
              <a:gd name="connsiteY3" fmla="*/ 3577027 h 7799163"/>
              <a:gd name="connsiteX4" fmla="*/ 2778738 w 4895975"/>
              <a:gd name="connsiteY4" fmla="*/ 7120327 h 7799163"/>
              <a:gd name="connsiteX5" fmla="*/ 219843 w 4895975"/>
              <a:gd name="connsiteY5" fmla="*/ 7118137 h 7799163"/>
              <a:gd name="connsiteX0" fmla="*/ 202277 w 4878409"/>
              <a:gd name="connsiteY0" fmla="*/ 7113808 h 7793348"/>
              <a:gd name="connsiteX1" fmla="*/ 191076 w 4878409"/>
              <a:gd name="connsiteY1" fmla="*/ 422730 h 7793348"/>
              <a:gd name="connsiteX2" fmla="*/ 3112864 w 4878409"/>
              <a:gd name="connsiteY2" fmla="*/ 257998 h 7793348"/>
              <a:gd name="connsiteX3" fmla="*/ 4876262 w 4878409"/>
              <a:gd name="connsiteY3" fmla="*/ 3572698 h 7793348"/>
              <a:gd name="connsiteX4" fmla="*/ 2761172 w 4878409"/>
              <a:gd name="connsiteY4" fmla="*/ 7115998 h 7793348"/>
              <a:gd name="connsiteX5" fmla="*/ 202277 w 4878409"/>
              <a:gd name="connsiteY5" fmla="*/ 7113808 h 7793348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85583 w 4761715"/>
              <a:gd name="connsiteY0" fmla="*/ 7107672 h 7785019"/>
              <a:gd name="connsiteX1" fmla="*/ 82333 w 4761715"/>
              <a:gd name="connsiteY1" fmla="*/ 448399 h 7785019"/>
              <a:gd name="connsiteX2" fmla="*/ 2996170 w 4761715"/>
              <a:gd name="connsiteY2" fmla="*/ 251862 h 7785019"/>
              <a:gd name="connsiteX3" fmla="*/ 4759568 w 4761715"/>
              <a:gd name="connsiteY3" fmla="*/ 3566562 h 7785019"/>
              <a:gd name="connsiteX4" fmla="*/ 2644478 w 4761715"/>
              <a:gd name="connsiteY4" fmla="*/ 7109862 h 7785019"/>
              <a:gd name="connsiteX5" fmla="*/ 85583 w 4761715"/>
              <a:gd name="connsiteY5" fmla="*/ 7107672 h 7785019"/>
              <a:gd name="connsiteX0" fmla="*/ 85583 w 4761715"/>
              <a:gd name="connsiteY0" fmla="*/ 7074631 h 7751978"/>
              <a:gd name="connsiteX1" fmla="*/ 82333 w 4761715"/>
              <a:gd name="connsiteY1" fmla="*/ 415358 h 7751978"/>
              <a:gd name="connsiteX2" fmla="*/ 2996170 w 4761715"/>
              <a:gd name="connsiteY2" fmla="*/ 218821 h 7751978"/>
              <a:gd name="connsiteX3" fmla="*/ 4759568 w 4761715"/>
              <a:gd name="connsiteY3" fmla="*/ 3533521 h 7751978"/>
              <a:gd name="connsiteX4" fmla="*/ 2644478 w 4761715"/>
              <a:gd name="connsiteY4" fmla="*/ 7076821 h 7751978"/>
              <a:gd name="connsiteX5" fmla="*/ 85583 w 4761715"/>
              <a:gd name="connsiteY5" fmla="*/ 7074631 h 7751978"/>
              <a:gd name="connsiteX0" fmla="*/ 157610 w 4833742"/>
              <a:gd name="connsiteY0" fmla="*/ 7074631 h 7751978"/>
              <a:gd name="connsiteX1" fmla="*/ 154360 w 4833742"/>
              <a:gd name="connsiteY1" fmla="*/ 415358 h 7751978"/>
              <a:gd name="connsiteX2" fmla="*/ 3068197 w 4833742"/>
              <a:gd name="connsiteY2" fmla="*/ 218821 h 7751978"/>
              <a:gd name="connsiteX3" fmla="*/ 4831595 w 4833742"/>
              <a:gd name="connsiteY3" fmla="*/ 3533521 h 7751978"/>
              <a:gd name="connsiteX4" fmla="*/ 2716505 w 4833742"/>
              <a:gd name="connsiteY4" fmla="*/ 7076821 h 7751978"/>
              <a:gd name="connsiteX5" fmla="*/ 157610 w 4833742"/>
              <a:gd name="connsiteY5" fmla="*/ 7074631 h 7751978"/>
              <a:gd name="connsiteX0" fmla="*/ 345911 w 5022043"/>
              <a:gd name="connsiteY0" fmla="*/ 7098958 h 7776305"/>
              <a:gd name="connsiteX1" fmla="*/ 342661 w 5022043"/>
              <a:gd name="connsiteY1" fmla="*/ 439685 h 7776305"/>
              <a:gd name="connsiteX2" fmla="*/ 3256498 w 5022043"/>
              <a:gd name="connsiteY2" fmla="*/ 243148 h 7776305"/>
              <a:gd name="connsiteX3" fmla="*/ 5019896 w 5022043"/>
              <a:gd name="connsiteY3" fmla="*/ 3557848 h 7776305"/>
              <a:gd name="connsiteX4" fmla="*/ 2904806 w 5022043"/>
              <a:gd name="connsiteY4" fmla="*/ 7101148 h 7776305"/>
              <a:gd name="connsiteX5" fmla="*/ 345911 w 5022043"/>
              <a:gd name="connsiteY5" fmla="*/ 7098958 h 7776305"/>
              <a:gd name="connsiteX0" fmla="*/ 190117 w 4866249"/>
              <a:gd name="connsiteY0" fmla="*/ 7193225 h 7870572"/>
              <a:gd name="connsiteX1" fmla="*/ 186867 w 4866249"/>
              <a:gd name="connsiteY1" fmla="*/ 533952 h 7870572"/>
              <a:gd name="connsiteX2" fmla="*/ 3100704 w 4866249"/>
              <a:gd name="connsiteY2" fmla="*/ 337415 h 7870572"/>
              <a:gd name="connsiteX3" fmla="*/ 4864102 w 4866249"/>
              <a:gd name="connsiteY3" fmla="*/ 3652115 h 7870572"/>
              <a:gd name="connsiteX4" fmla="*/ 2749012 w 4866249"/>
              <a:gd name="connsiteY4" fmla="*/ 7195415 h 7870572"/>
              <a:gd name="connsiteX5" fmla="*/ 190117 w 4866249"/>
              <a:gd name="connsiteY5" fmla="*/ 7193225 h 7870572"/>
              <a:gd name="connsiteX0" fmla="*/ 188894 w 4865026"/>
              <a:gd name="connsiteY0" fmla="*/ 7274677 h 7967496"/>
              <a:gd name="connsiteX1" fmla="*/ 189317 w 4865026"/>
              <a:gd name="connsiteY1" fmla="*/ 391394 h 7967496"/>
              <a:gd name="connsiteX2" fmla="*/ 3099481 w 4865026"/>
              <a:gd name="connsiteY2" fmla="*/ 418867 h 7967496"/>
              <a:gd name="connsiteX3" fmla="*/ 4862879 w 4865026"/>
              <a:gd name="connsiteY3" fmla="*/ 3733567 h 7967496"/>
              <a:gd name="connsiteX4" fmla="*/ 2747789 w 4865026"/>
              <a:gd name="connsiteY4" fmla="*/ 7276867 h 7967496"/>
              <a:gd name="connsiteX5" fmla="*/ 188894 w 4865026"/>
              <a:gd name="connsiteY5" fmla="*/ 7274677 h 7967496"/>
              <a:gd name="connsiteX0" fmla="*/ 192591 w 4868723"/>
              <a:gd name="connsiteY0" fmla="*/ 7277850 h 7971178"/>
              <a:gd name="connsiteX1" fmla="*/ 181997 w 4868723"/>
              <a:gd name="connsiteY1" fmla="*/ 387222 h 7971178"/>
              <a:gd name="connsiteX2" fmla="*/ 3103178 w 4868723"/>
              <a:gd name="connsiteY2" fmla="*/ 422040 h 7971178"/>
              <a:gd name="connsiteX3" fmla="*/ 4866576 w 4868723"/>
              <a:gd name="connsiteY3" fmla="*/ 3736740 h 7971178"/>
              <a:gd name="connsiteX4" fmla="*/ 2751486 w 4868723"/>
              <a:gd name="connsiteY4" fmla="*/ 7280040 h 7971178"/>
              <a:gd name="connsiteX5" fmla="*/ 192591 w 4868723"/>
              <a:gd name="connsiteY5" fmla="*/ 7277850 h 7971178"/>
              <a:gd name="connsiteX0" fmla="*/ 193427 w 4869559"/>
              <a:gd name="connsiteY0" fmla="*/ 7163116 h 7856444"/>
              <a:gd name="connsiteX1" fmla="*/ 182833 w 4869559"/>
              <a:gd name="connsiteY1" fmla="*/ 272488 h 7856444"/>
              <a:gd name="connsiteX2" fmla="*/ 3104014 w 4869559"/>
              <a:gd name="connsiteY2" fmla="*/ 307306 h 7856444"/>
              <a:gd name="connsiteX3" fmla="*/ 4867412 w 4869559"/>
              <a:gd name="connsiteY3" fmla="*/ 3622006 h 7856444"/>
              <a:gd name="connsiteX4" fmla="*/ 2752322 w 4869559"/>
              <a:gd name="connsiteY4" fmla="*/ 7165306 h 7856444"/>
              <a:gd name="connsiteX5" fmla="*/ 193427 w 4869559"/>
              <a:gd name="connsiteY5" fmla="*/ 7163116 h 7856444"/>
              <a:gd name="connsiteX0" fmla="*/ 170155 w 4846287"/>
              <a:gd name="connsiteY0" fmla="*/ 7143047 h 7831040"/>
              <a:gd name="connsiteX1" fmla="*/ 233007 w 4846287"/>
              <a:gd name="connsiteY1" fmla="*/ 329537 h 7831040"/>
              <a:gd name="connsiteX2" fmla="*/ 3080742 w 4846287"/>
              <a:gd name="connsiteY2" fmla="*/ 287237 h 7831040"/>
              <a:gd name="connsiteX3" fmla="*/ 4844140 w 4846287"/>
              <a:gd name="connsiteY3" fmla="*/ 3601937 h 7831040"/>
              <a:gd name="connsiteX4" fmla="*/ 2729050 w 4846287"/>
              <a:gd name="connsiteY4" fmla="*/ 7145237 h 7831040"/>
              <a:gd name="connsiteX5" fmla="*/ 170155 w 4846287"/>
              <a:gd name="connsiteY5" fmla="*/ 7143047 h 7831040"/>
              <a:gd name="connsiteX0" fmla="*/ 188486 w 4864618"/>
              <a:gd name="connsiteY0" fmla="*/ 7162098 h 7855172"/>
              <a:gd name="connsiteX1" fmla="*/ 192581 w 4864618"/>
              <a:gd name="connsiteY1" fmla="*/ 275143 h 7855172"/>
              <a:gd name="connsiteX2" fmla="*/ 3099073 w 4864618"/>
              <a:gd name="connsiteY2" fmla="*/ 306288 h 7855172"/>
              <a:gd name="connsiteX3" fmla="*/ 4862471 w 4864618"/>
              <a:gd name="connsiteY3" fmla="*/ 3620988 h 7855172"/>
              <a:gd name="connsiteX4" fmla="*/ 2747381 w 4864618"/>
              <a:gd name="connsiteY4" fmla="*/ 7164288 h 7855172"/>
              <a:gd name="connsiteX5" fmla="*/ 188486 w 4864618"/>
              <a:gd name="connsiteY5" fmla="*/ 7162098 h 785517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181559 h 7874633"/>
              <a:gd name="connsiteX1" fmla="*/ 344138 w 5016181"/>
              <a:gd name="connsiteY1" fmla="*/ 294604 h 7874633"/>
              <a:gd name="connsiteX2" fmla="*/ 3254303 w 5016181"/>
              <a:gd name="connsiteY2" fmla="*/ 296371 h 7874633"/>
              <a:gd name="connsiteX3" fmla="*/ 5014028 w 5016181"/>
              <a:gd name="connsiteY3" fmla="*/ 3640449 h 7874633"/>
              <a:gd name="connsiteX4" fmla="*/ 2898938 w 5016181"/>
              <a:gd name="connsiteY4" fmla="*/ 7183749 h 7874633"/>
              <a:gd name="connsiteX5" fmla="*/ 340043 w 5016181"/>
              <a:gd name="connsiteY5" fmla="*/ 7181559 h 7874633"/>
              <a:gd name="connsiteX0" fmla="*/ 340043 w 5016181"/>
              <a:gd name="connsiteY0" fmla="*/ 7183197 h 7876271"/>
              <a:gd name="connsiteX1" fmla="*/ 344138 w 5016181"/>
              <a:gd name="connsiteY1" fmla="*/ 296242 h 7876271"/>
              <a:gd name="connsiteX2" fmla="*/ 3254303 w 5016181"/>
              <a:gd name="connsiteY2" fmla="*/ 298009 h 7876271"/>
              <a:gd name="connsiteX3" fmla="*/ 5014028 w 5016181"/>
              <a:gd name="connsiteY3" fmla="*/ 3642087 h 7876271"/>
              <a:gd name="connsiteX4" fmla="*/ 2898938 w 5016181"/>
              <a:gd name="connsiteY4" fmla="*/ 7185387 h 7876271"/>
              <a:gd name="connsiteX5" fmla="*/ 340043 w 5016181"/>
              <a:gd name="connsiteY5" fmla="*/ 7183197 h 7876271"/>
              <a:gd name="connsiteX0" fmla="*/ 340043 w 5016181"/>
              <a:gd name="connsiteY0" fmla="*/ 7184031 h 7877324"/>
              <a:gd name="connsiteX1" fmla="*/ 344138 w 5016181"/>
              <a:gd name="connsiteY1" fmla="*/ 293901 h 7877324"/>
              <a:gd name="connsiteX2" fmla="*/ 3254303 w 5016181"/>
              <a:gd name="connsiteY2" fmla="*/ 298843 h 7877324"/>
              <a:gd name="connsiteX3" fmla="*/ 5014028 w 5016181"/>
              <a:gd name="connsiteY3" fmla="*/ 3642921 h 7877324"/>
              <a:gd name="connsiteX4" fmla="*/ 2898938 w 5016181"/>
              <a:gd name="connsiteY4" fmla="*/ 7186221 h 7877324"/>
              <a:gd name="connsiteX5" fmla="*/ 340043 w 5016181"/>
              <a:gd name="connsiteY5" fmla="*/ 7184031 h 7877324"/>
              <a:gd name="connsiteX0" fmla="*/ 338200 w 5014338"/>
              <a:gd name="connsiteY0" fmla="*/ 7184031 h 7877324"/>
              <a:gd name="connsiteX1" fmla="*/ 345470 w 5014338"/>
              <a:gd name="connsiteY1" fmla="*/ 293901 h 7877324"/>
              <a:gd name="connsiteX2" fmla="*/ 3252460 w 5014338"/>
              <a:gd name="connsiteY2" fmla="*/ 298843 h 7877324"/>
              <a:gd name="connsiteX3" fmla="*/ 5012185 w 5014338"/>
              <a:gd name="connsiteY3" fmla="*/ 3642921 h 7877324"/>
              <a:gd name="connsiteX4" fmla="*/ 2897095 w 5014338"/>
              <a:gd name="connsiteY4" fmla="*/ 7186221 h 7877324"/>
              <a:gd name="connsiteX5" fmla="*/ 338200 w 5014338"/>
              <a:gd name="connsiteY5" fmla="*/ 7184031 h 7877324"/>
              <a:gd name="connsiteX0" fmla="*/ 338200 w 5014338"/>
              <a:gd name="connsiteY0" fmla="*/ 7183318 h 7876611"/>
              <a:gd name="connsiteX1" fmla="*/ 345470 w 5014338"/>
              <a:gd name="connsiteY1" fmla="*/ 293188 h 7876611"/>
              <a:gd name="connsiteX2" fmla="*/ 3252460 w 5014338"/>
              <a:gd name="connsiteY2" fmla="*/ 298130 h 7876611"/>
              <a:gd name="connsiteX3" fmla="*/ 5012185 w 5014338"/>
              <a:gd name="connsiteY3" fmla="*/ 3642208 h 7876611"/>
              <a:gd name="connsiteX4" fmla="*/ 2897095 w 5014338"/>
              <a:gd name="connsiteY4" fmla="*/ 7185508 h 7876611"/>
              <a:gd name="connsiteX5" fmla="*/ 338200 w 5014338"/>
              <a:gd name="connsiteY5" fmla="*/ 7183318 h 7876611"/>
              <a:gd name="connsiteX0" fmla="*/ 189227 w 4865365"/>
              <a:gd name="connsiteY0" fmla="*/ 7183318 h 7876611"/>
              <a:gd name="connsiteX1" fmla="*/ 196497 w 4865365"/>
              <a:gd name="connsiteY1" fmla="*/ 293188 h 7876611"/>
              <a:gd name="connsiteX2" fmla="*/ 3103487 w 4865365"/>
              <a:gd name="connsiteY2" fmla="*/ 298130 h 7876611"/>
              <a:gd name="connsiteX3" fmla="*/ 4863212 w 4865365"/>
              <a:gd name="connsiteY3" fmla="*/ 3642208 h 7876611"/>
              <a:gd name="connsiteX4" fmla="*/ 2748122 w 4865365"/>
              <a:gd name="connsiteY4" fmla="*/ 7185508 h 7876611"/>
              <a:gd name="connsiteX5" fmla="*/ 189227 w 4865365"/>
              <a:gd name="connsiteY5" fmla="*/ 7183318 h 7876611"/>
              <a:gd name="connsiteX0" fmla="*/ 192432 w 4868570"/>
              <a:gd name="connsiteY0" fmla="*/ 7183318 h 7876611"/>
              <a:gd name="connsiteX1" fmla="*/ 190177 w 4868570"/>
              <a:gd name="connsiteY1" fmla="*/ 293188 h 7876611"/>
              <a:gd name="connsiteX2" fmla="*/ 3106692 w 4868570"/>
              <a:gd name="connsiteY2" fmla="*/ 298130 h 7876611"/>
              <a:gd name="connsiteX3" fmla="*/ 4866417 w 4868570"/>
              <a:gd name="connsiteY3" fmla="*/ 3642208 h 7876611"/>
              <a:gd name="connsiteX4" fmla="*/ 2751327 w 4868570"/>
              <a:gd name="connsiteY4" fmla="*/ 7185508 h 7876611"/>
              <a:gd name="connsiteX5" fmla="*/ 192432 w 4868570"/>
              <a:gd name="connsiteY5" fmla="*/ 7183318 h 7876611"/>
              <a:gd name="connsiteX0" fmla="*/ 190287 w 4866425"/>
              <a:gd name="connsiteY0" fmla="*/ 7183318 h 7876611"/>
              <a:gd name="connsiteX1" fmla="*/ 188032 w 4866425"/>
              <a:gd name="connsiteY1" fmla="*/ 293188 h 7876611"/>
              <a:gd name="connsiteX2" fmla="*/ 3104547 w 4866425"/>
              <a:gd name="connsiteY2" fmla="*/ 298130 h 7876611"/>
              <a:gd name="connsiteX3" fmla="*/ 4864272 w 4866425"/>
              <a:gd name="connsiteY3" fmla="*/ 3642208 h 7876611"/>
              <a:gd name="connsiteX4" fmla="*/ 2749182 w 4866425"/>
              <a:gd name="connsiteY4" fmla="*/ 7185508 h 7876611"/>
              <a:gd name="connsiteX5" fmla="*/ 190287 w 4866425"/>
              <a:gd name="connsiteY5" fmla="*/ 7183318 h 7876611"/>
              <a:gd name="connsiteX0" fmla="*/ 190287 w 4866425"/>
              <a:gd name="connsiteY0" fmla="*/ 7154743 h 7859802"/>
              <a:gd name="connsiteX1" fmla="*/ 188032 w 4866425"/>
              <a:gd name="connsiteY1" fmla="*/ 293188 h 7859802"/>
              <a:gd name="connsiteX2" fmla="*/ 3104547 w 4866425"/>
              <a:gd name="connsiteY2" fmla="*/ 298130 h 7859802"/>
              <a:gd name="connsiteX3" fmla="*/ 4864272 w 4866425"/>
              <a:gd name="connsiteY3" fmla="*/ 3642208 h 7859802"/>
              <a:gd name="connsiteX4" fmla="*/ 2749182 w 4866425"/>
              <a:gd name="connsiteY4" fmla="*/ 7185508 h 7859802"/>
              <a:gd name="connsiteX5" fmla="*/ 190287 w 4866425"/>
              <a:gd name="connsiteY5" fmla="*/ 7154743 h 7859802"/>
              <a:gd name="connsiteX0" fmla="*/ 2255 w 4678393"/>
              <a:gd name="connsiteY0" fmla="*/ 7154743 h 7872894"/>
              <a:gd name="connsiteX1" fmla="*/ 0 w 4678393"/>
              <a:gd name="connsiteY1" fmla="*/ 293188 h 7872894"/>
              <a:gd name="connsiteX2" fmla="*/ 2916515 w 4678393"/>
              <a:gd name="connsiteY2" fmla="*/ 298130 h 7872894"/>
              <a:gd name="connsiteX3" fmla="*/ 4676240 w 4678393"/>
              <a:gd name="connsiteY3" fmla="*/ 3642208 h 7872894"/>
              <a:gd name="connsiteX4" fmla="*/ 2561150 w 4678393"/>
              <a:gd name="connsiteY4" fmla="*/ 7185508 h 7872894"/>
              <a:gd name="connsiteX5" fmla="*/ 2255 w 4678393"/>
              <a:gd name="connsiteY5" fmla="*/ 7154743 h 7872894"/>
              <a:gd name="connsiteX0" fmla="*/ 2822 w 4678960"/>
              <a:gd name="connsiteY0" fmla="*/ 7154743 h 7874206"/>
              <a:gd name="connsiteX1" fmla="*/ 567 w 4678960"/>
              <a:gd name="connsiteY1" fmla="*/ 293188 h 7874206"/>
              <a:gd name="connsiteX2" fmla="*/ 2917082 w 4678960"/>
              <a:gd name="connsiteY2" fmla="*/ 298130 h 7874206"/>
              <a:gd name="connsiteX3" fmla="*/ 4676807 w 4678960"/>
              <a:gd name="connsiteY3" fmla="*/ 3642208 h 7874206"/>
              <a:gd name="connsiteX4" fmla="*/ 2561717 w 4678960"/>
              <a:gd name="connsiteY4" fmla="*/ 7185508 h 7874206"/>
              <a:gd name="connsiteX5" fmla="*/ 2822 w 4678960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473936"/>
              <a:gd name="connsiteX1" fmla="*/ 0 w 4678393"/>
              <a:gd name="connsiteY1" fmla="*/ 293188 h 7473936"/>
              <a:gd name="connsiteX2" fmla="*/ 2916515 w 4678393"/>
              <a:gd name="connsiteY2" fmla="*/ 298130 h 7473936"/>
              <a:gd name="connsiteX3" fmla="*/ 4676240 w 4678393"/>
              <a:gd name="connsiteY3" fmla="*/ 3642208 h 7473936"/>
              <a:gd name="connsiteX4" fmla="*/ 2561150 w 4678393"/>
              <a:gd name="connsiteY4" fmla="*/ 7185508 h 7473936"/>
              <a:gd name="connsiteX5" fmla="*/ 2255 w 4678393"/>
              <a:gd name="connsiteY5" fmla="*/ 7154743 h 7473936"/>
              <a:gd name="connsiteX0" fmla="*/ 2255 w 4678393"/>
              <a:gd name="connsiteY0" fmla="*/ 7154743 h 7450206"/>
              <a:gd name="connsiteX1" fmla="*/ 0 w 4678393"/>
              <a:gd name="connsiteY1" fmla="*/ 293188 h 7450206"/>
              <a:gd name="connsiteX2" fmla="*/ 2916515 w 4678393"/>
              <a:gd name="connsiteY2" fmla="*/ 298130 h 7450206"/>
              <a:gd name="connsiteX3" fmla="*/ 4676240 w 4678393"/>
              <a:gd name="connsiteY3" fmla="*/ 3642208 h 7450206"/>
              <a:gd name="connsiteX4" fmla="*/ 2564325 w 4678393"/>
              <a:gd name="connsiteY4" fmla="*/ 7153758 h 7450206"/>
              <a:gd name="connsiteX5" fmla="*/ 2255 w 4678393"/>
              <a:gd name="connsiteY5" fmla="*/ 7154743 h 7450206"/>
              <a:gd name="connsiteX0" fmla="*/ 2255 w 4678393"/>
              <a:gd name="connsiteY0" fmla="*/ 7154743 h 7154743"/>
              <a:gd name="connsiteX1" fmla="*/ 0 w 4678393"/>
              <a:gd name="connsiteY1" fmla="*/ 293188 h 7154743"/>
              <a:gd name="connsiteX2" fmla="*/ 2916515 w 4678393"/>
              <a:gd name="connsiteY2" fmla="*/ 298130 h 7154743"/>
              <a:gd name="connsiteX3" fmla="*/ 4676240 w 4678393"/>
              <a:gd name="connsiteY3" fmla="*/ 3642208 h 7154743"/>
              <a:gd name="connsiteX4" fmla="*/ 2564325 w 4678393"/>
              <a:gd name="connsiteY4" fmla="*/ 7153758 h 7154743"/>
              <a:gd name="connsiteX5" fmla="*/ 2255 w 4678393"/>
              <a:gd name="connsiteY5" fmla="*/ 7154743 h 7154743"/>
              <a:gd name="connsiteX0" fmla="*/ 2255 w 4678393"/>
              <a:gd name="connsiteY0" fmla="*/ 6861555 h 6861555"/>
              <a:gd name="connsiteX1" fmla="*/ 0 w 4678393"/>
              <a:gd name="connsiteY1" fmla="*/ 0 h 6861555"/>
              <a:gd name="connsiteX2" fmla="*/ 2916515 w 4678393"/>
              <a:gd name="connsiteY2" fmla="*/ 4942 h 6861555"/>
              <a:gd name="connsiteX3" fmla="*/ 4676240 w 4678393"/>
              <a:gd name="connsiteY3" fmla="*/ 3349020 h 6861555"/>
              <a:gd name="connsiteX4" fmla="*/ 2564325 w 4678393"/>
              <a:gd name="connsiteY4" fmla="*/ 6860570 h 6861555"/>
              <a:gd name="connsiteX5" fmla="*/ 2255 w 4678393"/>
              <a:gd name="connsiteY5" fmla="*/ 6861555 h 6861555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9009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8377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3061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71578"/>
              <a:gd name="connsiteX1" fmla="*/ 0 w 4678399"/>
              <a:gd name="connsiteY1" fmla="*/ 1408 h 6871578"/>
              <a:gd name="connsiteX2" fmla="*/ 2919690 w 4678399"/>
              <a:gd name="connsiteY2" fmla="*/ 0 h 6871578"/>
              <a:gd name="connsiteX3" fmla="*/ 4676240 w 4678399"/>
              <a:gd name="connsiteY3" fmla="*/ 3350428 h 6871578"/>
              <a:gd name="connsiteX4" fmla="*/ 2521796 w 4678399"/>
              <a:gd name="connsiteY4" fmla="*/ 6871578 h 6871578"/>
              <a:gd name="connsiteX5" fmla="*/ 2255 w 4678399"/>
              <a:gd name="connsiteY5" fmla="*/ 6862963 h 6871578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6240" h="6862963">
                <a:moveTo>
                  <a:pt x="2255" y="6862963"/>
                </a:moveTo>
                <a:cubicBezTo>
                  <a:pt x="847" y="5679318"/>
                  <a:pt x="65" y="1117189"/>
                  <a:pt x="0" y="1408"/>
                </a:cubicBezTo>
                <a:lnTo>
                  <a:pt x="2919690" y="0"/>
                </a:lnTo>
                <a:cubicBezTo>
                  <a:pt x="3347209" y="321191"/>
                  <a:pt x="4644479" y="1245147"/>
                  <a:pt x="4676240" y="3350428"/>
                </a:cubicBezTo>
                <a:cubicBezTo>
                  <a:pt x="4625578" y="5097946"/>
                  <a:pt x="3667890" y="6255680"/>
                  <a:pt x="2516480" y="6860945"/>
                </a:cubicBezTo>
                <a:lnTo>
                  <a:pt x="2255" y="6862963"/>
                </a:lnTo>
                <a:close/>
              </a:path>
            </a:pathLst>
          </a:custGeom>
          <a:ln>
            <a:noFill/>
          </a:ln>
          <a:extLst>
            <a:ext uri="{91240B29-F687-4f45-9708-019B960494DF}"/>
          </a:extLst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8461" y="110949"/>
            <a:ext cx="6882540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28461" y="1533600"/>
            <a:ext cx="688254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928461" y="2174400"/>
            <a:ext cx="688254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39194425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2585" y="110949"/>
            <a:ext cx="7138416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72585" y="1533600"/>
            <a:ext cx="713841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72585" y="2174400"/>
            <a:ext cx="7138416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3CA72A1A-CDA5-9A46-A824-8BA40A7BC7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301067" cy="68580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0967666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07347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091988" y="0"/>
            <a:ext cx="128587" cy="145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87450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110949"/>
            <a:ext cx="10972800" cy="1143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600" y="1602000"/>
            <a:ext cx="10972800" cy="452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5927561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614252" y="1676400"/>
            <a:ext cx="5791200" cy="4343400"/>
          </a:xfrm>
          <a:prstGeom prst="ellipse">
            <a:avLst/>
          </a:prstGeom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004813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5994400" y="1676400"/>
            <a:ext cx="5791200" cy="4343400"/>
          </a:xfrm>
          <a:prstGeom prst="ellipse">
            <a:avLst/>
          </a:prstGeom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917831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2006737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 bwMode="ltGray">
          <a:xfrm>
            <a:off x="-17630" y="-9254"/>
            <a:ext cx="6234987" cy="6867254"/>
          </a:xfrm>
          <a:custGeom>
            <a:avLst/>
            <a:gdLst>
              <a:gd name="connsiteX0" fmla="*/ 0 w 8001000"/>
              <a:gd name="connsiteY0" fmla="*/ 4000500 h 8001000"/>
              <a:gd name="connsiteX1" fmla="*/ 4000500 w 8001000"/>
              <a:gd name="connsiteY1" fmla="*/ 0 h 8001000"/>
              <a:gd name="connsiteX2" fmla="*/ 8001000 w 8001000"/>
              <a:gd name="connsiteY2" fmla="*/ 4000500 h 8001000"/>
              <a:gd name="connsiteX3" fmla="*/ 4000500 w 8001000"/>
              <a:gd name="connsiteY3" fmla="*/ 8001000 h 8001000"/>
              <a:gd name="connsiteX4" fmla="*/ 0 w 8001000"/>
              <a:gd name="connsiteY4" fmla="*/ 4000500 h 8001000"/>
              <a:gd name="connsiteX0" fmla="*/ 0 w 8060683"/>
              <a:gd name="connsiteY0" fmla="*/ 4222799 h 8223299"/>
              <a:gd name="connsiteX1" fmla="*/ 4000500 w 8060683"/>
              <a:gd name="connsiteY1" fmla="*/ 222299 h 8223299"/>
              <a:gd name="connsiteX2" fmla="*/ 6237602 w 8060683"/>
              <a:gd name="connsiteY2" fmla="*/ 908099 h 8223299"/>
              <a:gd name="connsiteX3" fmla="*/ 8001000 w 8060683"/>
              <a:gd name="connsiteY3" fmla="*/ 4222799 h 8223299"/>
              <a:gd name="connsiteX4" fmla="*/ 4000500 w 8060683"/>
              <a:gd name="connsiteY4" fmla="*/ 8223299 h 8223299"/>
              <a:gd name="connsiteX5" fmla="*/ 0 w 8060683"/>
              <a:gd name="connsiteY5" fmla="*/ 4222799 h 8223299"/>
              <a:gd name="connsiteX0" fmla="*/ 8055 w 8068738"/>
              <a:gd name="connsiteY0" fmla="*/ 3760842 h 7761342"/>
              <a:gd name="connsiteX1" fmla="*/ 3296378 w 8068738"/>
              <a:gd name="connsiteY1" fmla="*/ 472519 h 7761342"/>
              <a:gd name="connsiteX2" fmla="*/ 6245657 w 8068738"/>
              <a:gd name="connsiteY2" fmla="*/ 446142 h 7761342"/>
              <a:gd name="connsiteX3" fmla="*/ 8009055 w 8068738"/>
              <a:gd name="connsiteY3" fmla="*/ 3760842 h 7761342"/>
              <a:gd name="connsiteX4" fmla="*/ 4008555 w 8068738"/>
              <a:gd name="connsiteY4" fmla="*/ 7761342 h 7761342"/>
              <a:gd name="connsiteX5" fmla="*/ 8055 w 8068738"/>
              <a:gd name="connsiteY5" fmla="*/ 3760842 h 7761342"/>
              <a:gd name="connsiteX0" fmla="*/ 6123 w 8066806"/>
              <a:gd name="connsiteY0" fmla="*/ 3768834 h 7769334"/>
              <a:gd name="connsiteX1" fmla="*/ 3373577 w 8066806"/>
              <a:gd name="connsiteY1" fmla="*/ 462926 h 7769334"/>
              <a:gd name="connsiteX2" fmla="*/ 6243725 w 8066806"/>
              <a:gd name="connsiteY2" fmla="*/ 454134 h 7769334"/>
              <a:gd name="connsiteX3" fmla="*/ 8007123 w 8066806"/>
              <a:gd name="connsiteY3" fmla="*/ 3768834 h 7769334"/>
              <a:gd name="connsiteX4" fmla="*/ 4006623 w 8066806"/>
              <a:gd name="connsiteY4" fmla="*/ 7769334 h 7769334"/>
              <a:gd name="connsiteX5" fmla="*/ 6123 w 8066806"/>
              <a:gd name="connsiteY5" fmla="*/ 3768834 h 7769334"/>
              <a:gd name="connsiteX0" fmla="*/ 6939 w 8067622"/>
              <a:gd name="connsiteY0" fmla="*/ 3768834 h 7769334"/>
              <a:gd name="connsiteX1" fmla="*/ 3339224 w 8067622"/>
              <a:gd name="connsiteY1" fmla="*/ 462926 h 7769334"/>
              <a:gd name="connsiteX2" fmla="*/ 6244541 w 8067622"/>
              <a:gd name="connsiteY2" fmla="*/ 454134 h 7769334"/>
              <a:gd name="connsiteX3" fmla="*/ 8007939 w 8067622"/>
              <a:gd name="connsiteY3" fmla="*/ 3768834 h 7769334"/>
              <a:gd name="connsiteX4" fmla="*/ 4007439 w 8067622"/>
              <a:gd name="connsiteY4" fmla="*/ 7769334 h 7769334"/>
              <a:gd name="connsiteX5" fmla="*/ 6939 w 8067622"/>
              <a:gd name="connsiteY5" fmla="*/ 3768834 h 7769334"/>
              <a:gd name="connsiteX0" fmla="*/ 6939 w 8010086"/>
              <a:gd name="connsiteY0" fmla="*/ 3768834 h 7984710"/>
              <a:gd name="connsiteX1" fmla="*/ 3339224 w 8010086"/>
              <a:gd name="connsiteY1" fmla="*/ 462926 h 7984710"/>
              <a:gd name="connsiteX2" fmla="*/ 6244541 w 8010086"/>
              <a:gd name="connsiteY2" fmla="*/ 454134 h 7984710"/>
              <a:gd name="connsiteX3" fmla="*/ 8007939 w 8010086"/>
              <a:gd name="connsiteY3" fmla="*/ 3768834 h 7984710"/>
              <a:gd name="connsiteX4" fmla="*/ 5892849 w 8010086"/>
              <a:gd name="connsiteY4" fmla="*/ 7057157 h 7984710"/>
              <a:gd name="connsiteX5" fmla="*/ 4007439 w 8010086"/>
              <a:gd name="connsiteY5" fmla="*/ 7769334 h 7984710"/>
              <a:gd name="connsiteX6" fmla="*/ 6939 w 8010086"/>
              <a:gd name="connsiteY6" fmla="*/ 3768834 h 7984710"/>
              <a:gd name="connsiteX0" fmla="*/ 6939 w 8010086"/>
              <a:gd name="connsiteY0" fmla="*/ 3768834 h 8061801"/>
              <a:gd name="connsiteX1" fmla="*/ 3339224 w 8010086"/>
              <a:gd name="connsiteY1" fmla="*/ 462926 h 8061801"/>
              <a:gd name="connsiteX2" fmla="*/ 6244541 w 8010086"/>
              <a:gd name="connsiteY2" fmla="*/ 454134 h 8061801"/>
              <a:gd name="connsiteX3" fmla="*/ 8007939 w 8010086"/>
              <a:gd name="connsiteY3" fmla="*/ 3768834 h 8061801"/>
              <a:gd name="connsiteX4" fmla="*/ 5892849 w 8010086"/>
              <a:gd name="connsiteY4" fmla="*/ 7312134 h 8061801"/>
              <a:gd name="connsiteX5" fmla="*/ 4007439 w 8010086"/>
              <a:gd name="connsiteY5" fmla="*/ 7769334 h 8061801"/>
              <a:gd name="connsiteX6" fmla="*/ 6939 w 8010086"/>
              <a:gd name="connsiteY6" fmla="*/ 3768834 h 8061801"/>
              <a:gd name="connsiteX0" fmla="*/ 6 w 8003153"/>
              <a:gd name="connsiteY0" fmla="*/ 3768834 h 7779879"/>
              <a:gd name="connsiteX1" fmla="*/ 3332291 w 8003153"/>
              <a:gd name="connsiteY1" fmla="*/ 462926 h 7779879"/>
              <a:gd name="connsiteX2" fmla="*/ 6237608 w 8003153"/>
              <a:gd name="connsiteY2" fmla="*/ 454134 h 7779879"/>
              <a:gd name="connsiteX3" fmla="*/ 8001006 w 8003153"/>
              <a:gd name="connsiteY3" fmla="*/ 3768834 h 7779879"/>
              <a:gd name="connsiteX4" fmla="*/ 5885916 w 8003153"/>
              <a:gd name="connsiteY4" fmla="*/ 7312134 h 7779879"/>
              <a:gd name="connsiteX5" fmla="*/ 3349875 w 8003153"/>
              <a:gd name="connsiteY5" fmla="*/ 7303342 h 7779879"/>
              <a:gd name="connsiteX6" fmla="*/ 6 w 8003153"/>
              <a:gd name="connsiteY6" fmla="*/ 3768834 h 7779879"/>
              <a:gd name="connsiteX0" fmla="*/ 3 w 8003150"/>
              <a:gd name="connsiteY0" fmla="*/ 3768834 h 7775751"/>
              <a:gd name="connsiteX1" fmla="*/ 3332288 w 8003150"/>
              <a:gd name="connsiteY1" fmla="*/ 462926 h 7775751"/>
              <a:gd name="connsiteX2" fmla="*/ 6237605 w 8003150"/>
              <a:gd name="connsiteY2" fmla="*/ 454134 h 7775751"/>
              <a:gd name="connsiteX3" fmla="*/ 8001003 w 8003150"/>
              <a:gd name="connsiteY3" fmla="*/ 3768834 h 7775751"/>
              <a:gd name="connsiteX4" fmla="*/ 5885913 w 8003150"/>
              <a:gd name="connsiteY4" fmla="*/ 7312134 h 7775751"/>
              <a:gd name="connsiteX5" fmla="*/ 3314702 w 8003150"/>
              <a:gd name="connsiteY5" fmla="*/ 7294550 h 7775751"/>
              <a:gd name="connsiteX6" fmla="*/ 3 w 8003150"/>
              <a:gd name="connsiteY6" fmla="*/ 3768834 h 77757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35777 h 7832403"/>
              <a:gd name="connsiteX1" fmla="*/ 664079 w 5334941"/>
              <a:gd name="connsiteY1" fmla="*/ 304153 h 7832403"/>
              <a:gd name="connsiteX2" fmla="*/ 3569396 w 5334941"/>
              <a:gd name="connsiteY2" fmla="*/ 295361 h 7832403"/>
              <a:gd name="connsiteX3" fmla="*/ 5332794 w 5334941"/>
              <a:gd name="connsiteY3" fmla="*/ 3610061 h 7832403"/>
              <a:gd name="connsiteX4" fmla="*/ 3217704 w 5334941"/>
              <a:gd name="connsiteY4" fmla="*/ 7153361 h 7832403"/>
              <a:gd name="connsiteX5" fmla="*/ 646493 w 5334941"/>
              <a:gd name="connsiteY5" fmla="*/ 7135777 h 7832403"/>
              <a:gd name="connsiteX0" fmla="*/ 182720 w 4871168"/>
              <a:gd name="connsiteY0" fmla="*/ 7135777 h 7832403"/>
              <a:gd name="connsiteX1" fmla="*/ 200306 w 4871168"/>
              <a:gd name="connsiteY1" fmla="*/ 304153 h 7832403"/>
              <a:gd name="connsiteX2" fmla="*/ 3105623 w 4871168"/>
              <a:gd name="connsiteY2" fmla="*/ 295361 h 7832403"/>
              <a:gd name="connsiteX3" fmla="*/ 4869021 w 4871168"/>
              <a:gd name="connsiteY3" fmla="*/ 3610061 h 7832403"/>
              <a:gd name="connsiteX4" fmla="*/ 2753931 w 4871168"/>
              <a:gd name="connsiteY4" fmla="*/ 7153361 h 7832403"/>
              <a:gd name="connsiteX5" fmla="*/ 182720 w 4871168"/>
              <a:gd name="connsiteY5" fmla="*/ 7135777 h 7832403"/>
              <a:gd name="connsiteX0" fmla="*/ 182720 w 4871168"/>
              <a:gd name="connsiteY0" fmla="*/ 7124471 h 7821097"/>
              <a:gd name="connsiteX1" fmla="*/ 200306 w 4871168"/>
              <a:gd name="connsiteY1" fmla="*/ 292847 h 7821097"/>
              <a:gd name="connsiteX2" fmla="*/ 3105623 w 4871168"/>
              <a:gd name="connsiteY2" fmla="*/ 284055 h 7821097"/>
              <a:gd name="connsiteX3" fmla="*/ 4869021 w 4871168"/>
              <a:gd name="connsiteY3" fmla="*/ 3598755 h 7821097"/>
              <a:gd name="connsiteX4" fmla="*/ 2753931 w 4871168"/>
              <a:gd name="connsiteY4" fmla="*/ 7142055 h 7821097"/>
              <a:gd name="connsiteX5" fmla="*/ 182720 w 4871168"/>
              <a:gd name="connsiteY5" fmla="*/ 7124471 h 7821097"/>
              <a:gd name="connsiteX0" fmla="*/ 182720 w 4871168"/>
              <a:gd name="connsiteY0" fmla="*/ 7133321 h 7829947"/>
              <a:gd name="connsiteX1" fmla="*/ 200306 w 4871168"/>
              <a:gd name="connsiteY1" fmla="*/ 301697 h 7829947"/>
              <a:gd name="connsiteX2" fmla="*/ 3105623 w 4871168"/>
              <a:gd name="connsiteY2" fmla="*/ 292905 h 7829947"/>
              <a:gd name="connsiteX3" fmla="*/ 4869021 w 4871168"/>
              <a:gd name="connsiteY3" fmla="*/ 3607605 h 7829947"/>
              <a:gd name="connsiteX4" fmla="*/ 2753931 w 4871168"/>
              <a:gd name="connsiteY4" fmla="*/ 7150905 h 7829947"/>
              <a:gd name="connsiteX5" fmla="*/ 182720 w 4871168"/>
              <a:gd name="connsiteY5" fmla="*/ 7133321 h 7829947"/>
              <a:gd name="connsiteX0" fmla="*/ 186720 w 4875168"/>
              <a:gd name="connsiteY0" fmla="*/ 7137599 h 7835370"/>
              <a:gd name="connsiteX1" fmla="*/ 191837 w 4875168"/>
              <a:gd name="connsiteY1" fmla="*/ 289350 h 7835370"/>
              <a:gd name="connsiteX2" fmla="*/ 3109623 w 4875168"/>
              <a:gd name="connsiteY2" fmla="*/ 297183 h 7835370"/>
              <a:gd name="connsiteX3" fmla="*/ 4873021 w 4875168"/>
              <a:gd name="connsiteY3" fmla="*/ 3611883 h 7835370"/>
              <a:gd name="connsiteX4" fmla="*/ 2757931 w 4875168"/>
              <a:gd name="connsiteY4" fmla="*/ 7155183 h 7835370"/>
              <a:gd name="connsiteX5" fmla="*/ 186720 w 4875168"/>
              <a:gd name="connsiteY5" fmla="*/ 7137599 h 7835370"/>
              <a:gd name="connsiteX0" fmla="*/ 171307 w 4859755"/>
              <a:gd name="connsiteY0" fmla="*/ 7112714 h 7803338"/>
              <a:gd name="connsiteX1" fmla="*/ 226300 w 4859755"/>
              <a:gd name="connsiteY1" fmla="*/ 368374 h 7803338"/>
              <a:gd name="connsiteX2" fmla="*/ 3094210 w 4859755"/>
              <a:gd name="connsiteY2" fmla="*/ 272298 h 7803338"/>
              <a:gd name="connsiteX3" fmla="*/ 4857608 w 4859755"/>
              <a:gd name="connsiteY3" fmla="*/ 3586998 h 7803338"/>
              <a:gd name="connsiteX4" fmla="*/ 2742518 w 4859755"/>
              <a:gd name="connsiteY4" fmla="*/ 7130298 h 7803338"/>
              <a:gd name="connsiteX5" fmla="*/ 171307 w 4859755"/>
              <a:gd name="connsiteY5" fmla="*/ 7112714 h 7803338"/>
              <a:gd name="connsiteX0" fmla="*/ 184041 w 4872489"/>
              <a:gd name="connsiteY0" fmla="*/ 7134379 h 7831291"/>
              <a:gd name="connsiteX1" fmla="*/ 197470 w 4872489"/>
              <a:gd name="connsiteY1" fmla="*/ 298599 h 7831291"/>
              <a:gd name="connsiteX2" fmla="*/ 3106944 w 4872489"/>
              <a:gd name="connsiteY2" fmla="*/ 293963 h 7831291"/>
              <a:gd name="connsiteX3" fmla="*/ 4870342 w 4872489"/>
              <a:gd name="connsiteY3" fmla="*/ 3608663 h 7831291"/>
              <a:gd name="connsiteX4" fmla="*/ 2755252 w 4872489"/>
              <a:gd name="connsiteY4" fmla="*/ 7151963 h 7831291"/>
              <a:gd name="connsiteX5" fmla="*/ 184041 w 4872489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9716 w 4868927"/>
              <a:gd name="connsiteY0" fmla="*/ 7152851 h 7842196"/>
              <a:gd name="connsiteX1" fmla="*/ 193908 w 4868927"/>
              <a:gd name="connsiteY1" fmla="*/ 298599 h 7842196"/>
              <a:gd name="connsiteX2" fmla="*/ 3103382 w 4868927"/>
              <a:gd name="connsiteY2" fmla="*/ 293963 h 7842196"/>
              <a:gd name="connsiteX3" fmla="*/ 4866780 w 4868927"/>
              <a:gd name="connsiteY3" fmla="*/ 3608663 h 7842196"/>
              <a:gd name="connsiteX4" fmla="*/ 2751690 w 4868927"/>
              <a:gd name="connsiteY4" fmla="*/ 7151963 h 7842196"/>
              <a:gd name="connsiteX5" fmla="*/ 189716 w 4868927"/>
              <a:gd name="connsiteY5" fmla="*/ 7152851 h 7842196"/>
              <a:gd name="connsiteX0" fmla="*/ 2 w 4679213"/>
              <a:gd name="connsiteY0" fmla="*/ 7152851 h 7447842"/>
              <a:gd name="connsiteX1" fmla="*/ 4194 w 4679213"/>
              <a:gd name="connsiteY1" fmla="*/ 298599 h 7447842"/>
              <a:gd name="connsiteX2" fmla="*/ 2913668 w 4679213"/>
              <a:gd name="connsiteY2" fmla="*/ 293963 h 7447842"/>
              <a:gd name="connsiteX3" fmla="*/ 4677066 w 4679213"/>
              <a:gd name="connsiteY3" fmla="*/ 3608663 h 7447842"/>
              <a:gd name="connsiteX4" fmla="*/ 2561976 w 4679213"/>
              <a:gd name="connsiteY4" fmla="*/ 7151963 h 7447842"/>
              <a:gd name="connsiteX5" fmla="*/ 2 w 4679213"/>
              <a:gd name="connsiteY5" fmla="*/ 7152851 h 7447842"/>
              <a:gd name="connsiteX0" fmla="*/ 232986 w 4675130"/>
              <a:gd name="connsiteY0" fmla="*/ 7082039 h 7430577"/>
              <a:gd name="connsiteX1" fmla="*/ 111 w 4675130"/>
              <a:gd name="connsiteY1" fmla="*/ 298599 h 7430577"/>
              <a:gd name="connsiteX2" fmla="*/ 2909585 w 4675130"/>
              <a:gd name="connsiteY2" fmla="*/ 293963 h 7430577"/>
              <a:gd name="connsiteX3" fmla="*/ 4672983 w 4675130"/>
              <a:gd name="connsiteY3" fmla="*/ 3608663 h 7430577"/>
              <a:gd name="connsiteX4" fmla="*/ 2557893 w 4675130"/>
              <a:gd name="connsiteY4" fmla="*/ 7151963 h 7430577"/>
              <a:gd name="connsiteX5" fmla="*/ 232986 w 4675130"/>
              <a:gd name="connsiteY5" fmla="*/ 7082039 h 7430577"/>
              <a:gd name="connsiteX0" fmla="*/ 1481 w 4677613"/>
              <a:gd name="connsiteY0" fmla="*/ 7149773 h 7447048"/>
              <a:gd name="connsiteX1" fmla="*/ 2594 w 4677613"/>
              <a:gd name="connsiteY1" fmla="*/ 298599 h 7447048"/>
              <a:gd name="connsiteX2" fmla="*/ 2912068 w 4677613"/>
              <a:gd name="connsiteY2" fmla="*/ 293963 h 7447048"/>
              <a:gd name="connsiteX3" fmla="*/ 4675466 w 4677613"/>
              <a:gd name="connsiteY3" fmla="*/ 3608663 h 7447048"/>
              <a:gd name="connsiteX4" fmla="*/ 2560376 w 4677613"/>
              <a:gd name="connsiteY4" fmla="*/ 7151963 h 7447048"/>
              <a:gd name="connsiteX5" fmla="*/ 1481 w 4677613"/>
              <a:gd name="connsiteY5" fmla="*/ 7149773 h 7447048"/>
              <a:gd name="connsiteX0" fmla="*/ 165734 w 4841866"/>
              <a:gd name="connsiteY0" fmla="*/ 7139154 h 7826771"/>
              <a:gd name="connsiteX1" fmla="*/ 246896 w 4841866"/>
              <a:gd name="connsiteY1" fmla="*/ 331083 h 7826771"/>
              <a:gd name="connsiteX2" fmla="*/ 3076321 w 4841866"/>
              <a:gd name="connsiteY2" fmla="*/ 283344 h 7826771"/>
              <a:gd name="connsiteX3" fmla="*/ 4839719 w 4841866"/>
              <a:gd name="connsiteY3" fmla="*/ 3598044 h 7826771"/>
              <a:gd name="connsiteX4" fmla="*/ 2724629 w 4841866"/>
              <a:gd name="connsiteY4" fmla="*/ 7141344 h 7826771"/>
              <a:gd name="connsiteX5" fmla="*/ 165734 w 4841866"/>
              <a:gd name="connsiteY5" fmla="*/ 7139154 h 7826771"/>
              <a:gd name="connsiteX0" fmla="*/ 192597 w 4868729"/>
              <a:gd name="connsiteY0" fmla="*/ 7111990 h 7790893"/>
              <a:gd name="connsiteX1" fmla="*/ 187553 w 4868729"/>
              <a:gd name="connsiteY1" fmla="*/ 430149 h 7790893"/>
              <a:gd name="connsiteX2" fmla="*/ 3103184 w 4868729"/>
              <a:gd name="connsiteY2" fmla="*/ 256180 h 7790893"/>
              <a:gd name="connsiteX3" fmla="*/ 4866582 w 4868729"/>
              <a:gd name="connsiteY3" fmla="*/ 3570880 h 7790893"/>
              <a:gd name="connsiteX4" fmla="*/ 2751492 w 4868729"/>
              <a:gd name="connsiteY4" fmla="*/ 7114180 h 7790893"/>
              <a:gd name="connsiteX5" fmla="*/ 192597 w 4868729"/>
              <a:gd name="connsiteY5" fmla="*/ 7111990 h 7790893"/>
              <a:gd name="connsiteX0" fmla="*/ 135176 w 4811308"/>
              <a:gd name="connsiteY0" fmla="*/ 7105556 h 7782125"/>
              <a:gd name="connsiteX1" fmla="*/ 336411 w 4811308"/>
              <a:gd name="connsiteY1" fmla="*/ 457582 h 7782125"/>
              <a:gd name="connsiteX2" fmla="*/ 3045763 w 4811308"/>
              <a:gd name="connsiteY2" fmla="*/ 249746 h 7782125"/>
              <a:gd name="connsiteX3" fmla="*/ 4809161 w 4811308"/>
              <a:gd name="connsiteY3" fmla="*/ 3564446 h 7782125"/>
              <a:gd name="connsiteX4" fmla="*/ 2694071 w 4811308"/>
              <a:gd name="connsiteY4" fmla="*/ 7107746 h 7782125"/>
              <a:gd name="connsiteX5" fmla="*/ 135176 w 4811308"/>
              <a:gd name="connsiteY5" fmla="*/ 7105556 h 7782125"/>
              <a:gd name="connsiteX0" fmla="*/ 157213 w 4833345"/>
              <a:gd name="connsiteY0" fmla="*/ 7115639 h 7795816"/>
              <a:gd name="connsiteX1" fmla="*/ 269163 w 4833345"/>
              <a:gd name="connsiteY1" fmla="*/ 415325 h 7795816"/>
              <a:gd name="connsiteX2" fmla="*/ 3067800 w 4833345"/>
              <a:gd name="connsiteY2" fmla="*/ 259829 h 7795816"/>
              <a:gd name="connsiteX3" fmla="*/ 4831198 w 4833345"/>
              <a:gd name="connsiteY3" fmla="*/ 3574529 h 7795816"/>
              <a:gd name="connsiteX4" fmla="*/ 2716108 w 4833345"/>
              <a:gd name="connsiteY4" fmla="*/ 7117829 h 7795816"/>
              <a:gd name="connsiteX5" fmla="*/ 157213 w 4833345"/>
              <a:gd name="connsiteY5" fmla="*/ 7115639 h 7795816"/>
              <a:gd name="connsiteX0" fmla="*/ 156353 w 4832485"/>
              <a:gd name="connsiteY0" fmla="*/ 7115639 h 7795816"/>
              <a:gd name="connsiteX1" fmla="*/ 268303 w 4832485"/>
              <a:gd name="connsiteY1" fmla="*/ 415325 h 7795816"/>
              <a:gd name="connsiteX2" fmla="*/ 3066940 w 4832485"/>
              <a:gd name="connsiteY2" fmla="*/ 259829 h 7795816"/>
              <a:gd name="connsiteX3" fmla="*/ 4830338 w 4832485"/>
              <a:gd name="connsiteY3" fmla="*/ 3574529 h 7795816"/>
              <a:gd name="connsiteX4" fmla="*/ 2715248 w 4832485"/>
              <a:gd name="connsiteY4" fmla="*/ 7117829 h 7795816"/>
              <a:gd name="connsiteX5" fmla="*/ 156353 w 4832485"/>
              <a:gd name="connsiteY5" fmla="*/ 7115639 h 7795816"/>
              <a:gd name="connsiteX0" fmla="*/ 162218 w 4838350"/>
              <a:gd name="connsiteY0" fmla="*/ 7153758 h 7845421"/>
              <a:gd name="connsiteX1" fmla="*/ 252617 w 4838350"/>
              <a:gd name="connsiteY1" fmla="*/ 287189 h 7845421"/>
              <a:gd name="connsiteX2" fmla="*/ 3072805 w 4838350"/>
              <a:gd name="connsiteY2" fmla="*/ 297948 h 7845421"/>
              <a:gd name="connsiteX3" fmla="*/ 4836203 w 4838350"/>
              <a:gd name="connsiteY3" fmla="*/ 3612648 h 7845421"/>
              <a:gd name="connsiteX4" fmla="*/ 2721113 w 4838350"/>
              <a:gd name="connsiteY4" fmla="*/ 7155948 h 7845421"/>
              <a:gd name="connsiteX5" fmla="*/ 162218 w 4838350"/>
              <a:gd name="connsiteY5" fmla="*/ 7153758 h 7845421"/>
              <a:gd name="connsiteX0" fmla="*/ 162218 w 4838350"/>
              <a:gd name="connsiteY0" fmla="*/ 7127231 h 7811232"/>
              <a:gd name="connsiteX1" fmla="*/ 252617 w 4838350"/>
              <a:gd name="connsiteY1" fmla="*/ 371498 h 7811232"/>
              <a:gd name="connsiteX2" fmla="*/ 3072805 w 4838350"/>
              <a:gd name="connsiteY2" fmla="*/ 271421 h 7811232"/>
              <a:gd name="connsiteX3" fmla="*/ 4836203 w 4838350"/>
              <a:gd name="connsiteY3" fmla="*/ 3586121 h 7811232"/>
              <a:gd name="connsiteX4" fmla="*/ 2721113 w 4838350"/>
              <a:gd name="connsiteY4" fmla="*/ 7129421 h 7811232"/>
              <a:gd name="connsiteX5" fmla="*/ 162218 w 4838350"/>
              <a:gd name="connsiteY5" fmla="*/ 7127231 h 7811232"/>
              <a:gd name="connsiteX0" fmla="*/ 169100 w 4845232"/>
              <a:gd name="connsiteY0" fmla="*/ 7127237 h 7811238"/>
              <a:gd name="connsiteX1" fmla="*/ 259499 w 4845232"/>
              <a:gd name="connsiteY1" fmla="*/ 371504 h 7811238"/>
              <a:gd name="connsiteX2" fmla="*/ 3079687 w 4845232"/>
              <a:gd name="connsiteY2" fmla="*/ 271427 h 7811238"/>
              <a:gd name="connsiteX3" fmla="*/ 4843085 w 4845232"/>
              <a:gd name="connsiteY3" fmla="*/ 3586127 h 7811238"/>
              <a:gd name="connsiteX4" fmla="*/ 2727995 w 4845232"/>
              <a:gd name="connsiteY4" fmla="*/ 7129427 h 7811238"/>
              <a:gd name="connsiteX5" fmla="*/ 169100 w 4845232"/>
              <a:gd name="connsiteY5" fmla="*/ 7127237 h 7811238"/>
              <a:gd name="connsiteX0" fmla="*/ 219843 w 4895975"/>
              <a:gd name="connsiteY0" fmla="*/ 7118137 h 7799163"/>
              <a:gd name="connsiteX1" fmla="*/ 162460 w 4895975"/>
              <a:gd name="connsiteY1" fmla="*/ 405507 h 7799163"/>
              <a:gd name="connsiteX2" fmla="*/ 3130430 w 4895975"/>
              <a:gd name="connsiteY2" fmla="*/ 262327 h 7799163"/>
              <a:gd name="connsiteX3" fmla="*/ 4893828 w 4895975"/>
              <a:gd name="connsiteY3" fmla="*/ 3577027 h 7799163"/>
              <a:gd name="connsiteX4" fmla="*/ 2778738 w 4895975"/>
              <a:gd name="connsiteY4" fmla="*/ 7120327 h 7799163"/>
              <a:gd name="connsiteX5" fmla="*/ 219843 w 4895975"/>
              <a:gd name="connsiteY5" fmla="*/ 7118137 h 7799163"/>
              <a:gd name="connsiteX0" fmla="*/ 202277 w 4878409"/>
              <a:gd name="connsiteY0" fmla="*/ 7113808 h 7793348"/>
              <a:gd name="connsiteX1" fmla="*/ 191076 w 4878409"/>
              <a:gd name="connsiteY1" fmla="*/ 422730 h 7793348"/>
              <a:gd name="connsiteX2" fmla="*/ 3112864 w 4878409"/>
              <a:gd name="connsiteY2" fmla="*/ 257998 h 7793348"/>
              <a:gd name="connsiteX3" fmla="*/ 4876262 w 4878409"/>
              <a:gd name="connsiteY3" fmla="*/ 3572698 h 7793348"/>
              <a:gd name="connsiteX4" fmla="*/ 2761172 w 4878409"/>
              <a:gd name="connsiteY4" fmla="*/ 7115998 h 7793348"/>
              <a:gd name="connsiteX5" fmla="*/ 202277 w 4878409"/>
              <a:gd name="connsiteY5" fmla="*/ 7113808 h 7793348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85583 w 4761715"/>
              <a:gd name="connsiteY0" fmla="*/ 7107672 h 7785019"/>
              <a:gd name="connsiteX1" fmla="*/ 82333 w 4761715"/>
              <a:gd name="connsiteY1" fmla="*/ 448399 h 7785019"/>
              <a:gd name="connsiteX2" fmla="*/ 2996170 w 4761715"/>
              <a:gd name="connsiteY2" fmla="*/ 251862 h 7785019"/>
              <a:gd name="connsiteX3" fmla="*/ 4759568 w 4761715"/>
              <a:gd name="connsiteY3" fmla="*/ 3566562 h 7785019"/>
              <a:gd name="connsiteX4" fmla="*/ 2644478 w 4761715"/>
              <a:gd name="connsiteY4" fmla="*/ 7109862 h 7785019"/>
              <a:gd name="connsiteX5" fmla="*/ 85583 w 4761715"/>
              <a:gd name="connsiteY5" fmla="*/ 7107672 h 7785019"/>
              <a:gd name="connsiteX0" fmla="*/ 85583 w 4761715"/>
              <a:gd name="connsiteY0" fmla="*/ 7074631 h 7751978"/>
              <a:gd name="connsiteX1" fmla="*/ 82333 w 4761715"/>
              <a:gd name="connsiteY1" fmla="*/ 415358 h 7751978"/>
              <a:gd name="connsiteX2" fmla="*/ 2996170 w 4761715"/>
              <a:gd name="connsiteY2" fmla="*/ 218821 h 7751978"/>
              <a:gd name="connsiteX3" fmla="*/ 4759568 w 4761715"/>
              <a:gd name="connsiteY3" fmla="*/ 3533521 h 7751978"/>
              <a:gd name="connsiteX4" fmla="*/ 2644478 w 4761715"/>
              <a:gd name="connsiteY4" fmla="*/ 7076821 h 7751978"/>
              <a:gd name="connsiteX5" fmla="*/ 85583 w 4761715"/>
              <a:gd name="connsiteY5" fmla="*/ 7074631 h 7751978"/>
              <a:gd name="connsiteX0" fmla="*/ 157610 w 4833742"/>
              <a:gd name="connsiteY0" fmla="*/ 7074631 h 7751978"/>
              <a:gd name="connsiteX1" fmla="*/ 154360 w 4833742"/>
              <a:gd name="connsiteY1" fmla="*/ 415358 h 7751978"/>
              <a:gd name="connsiteX2" fmla="*/ 3068197 w 4833742"/>
              <a:gd name="connsiteY2" fmla="*/ 218821 h 7751978"/>
              <a:gd name="connsiteX3" fmla="*/ 4831595 w 4833742"/>
              <a:gd name="connsiteY3" fmla="*/ 3533521 h 7751978"/>
              <a:gd name="connsiteX4" fmla="*/ 2716505 w 4833742"/>
              <a:gd name="connsiteY4" fmla="*/ 7076821 h 7751978"/>
              <a:gd name="connsiteX5" fmla="*/ 157610 w 4833742"/>
              <a:gd name="connsiteY5" fmla="*/ 7074631 h 7751978"/>
              <a:gd name="connsiteX0" fmla="*/ 345911 w 5022043"/>
              <a:gd name="connsiteY0" fmla="*/ 7098958 h 7776305"/>
              <a:gd name="connsiteX1" fmla="*/ 342661 w 5022043"/>
              <a:gd name="connsiteY1" fmla="*/ 439685 h 7776305"/>
              <a:gd name="connsiteX2" fmla="*/ 3256498 w 5022043"/>
              <a:gd name="connsiteY2" fmla="*/ 243148 h 7776305"/>
              <a:gd name="connsiteX3" fmla="*/ 5019896 w 5022043"/>
              <a:gd name="connsiteY3" fmla="*/ 3557848 h 7776305"/>
              <a:gd name="connsiteX4" fmla="*/ 2904806 w 5022043"/>
              <a:gd name="connsiteY4" fmla="*/ 7101148 h 7776305"/>
              <a:gd name="connsiteX5" fmla="*/ 345911 w 5022043"/>
              <a:gd name="connsiteY5" fmla="*/ 7098958 h 7776305"/>
              <a:gd name="connsiteX0" fmla="*/ 190117 w 4866249"/>
              <a:gd name="connsiteY0" fmla="*/ 7193225 h 7870572"/>
              <a:gd name="connsiteX1" fmla="*/ 186867 w 4866249"/>
              <a:gd name="connsiteY1" fmla="*/ 533952 h 7870572"/>
              <a:gd name="connsiteX2" fmla="*/ 3100704 w 4866249"/>
              <a:gd name="connsiteY2" fmla="*/ 337415 h 7870572"/>
              <a:gd name="connsiteX3" fmla="*/ 4864102 w 4866249"/>
              <a:gd name="connsiteY3" fmla="*/ 3652115 h 7870572"/>
              <a:gd name="connsiteX4" fmla="*/ 2749012 w 4866249"/>
              <a:gd name="connsiteY4" fmla="*/ 7195415 h 7870572"/>
              <a:gd name="connsiteX5" fmla="*/ 190117 w 4866249"/>
              <a:gd name="connsiteY5" fmla="*/ 7193225 h 7870572"/>
              <a:gd name="connsiteX0" fmla="*/ 188894 w 4865026"/>
              <a:gd name="connsiteY0" fmla="*/ 7274677 h 7967496"/>
              <a:gd name="connsiteX1" fmla="*/ 189317 w 4865026"/>
              <a:gd name="connsiteY1" fmla="*/ 391394 h 7967496"/>
              <a:gd name="connsiteX2" fmla="*/ 3099481 w 4865026"/>
              <a:gd name="connsiteY2" fmla="*/ 418867 h 7967496"/>
              <a:gd name="connsiteX3" fmla="*/ 4862879 w 4865026"/>
              <a:gd name="connsiteY3" fmla="*/ 3733567 h 7967496"/>
              <a:gd name="connsiteX4" fmla="*/ 2747789 w 4865026"/>
              <a:gd name="connsiteY4" fmla="*/ 7276867 h 7967496"/>
              <a:gd name="connsiteX5" fmla="*/ 188894 w 4865026"/>
              <a:gd name="connsiteY5" fmla="*/ 7274677 h 7967496"/>
              <a:gd name="connsiteX0" fmla="*/ 192591 w 4868723"/>
              <a:gd name="connsiteY0" fmla="*/ 7277850 h 7971178"/>
              <a:gd name="connsiteX1" fmla="*/ 181997 w 4868723"/>
              <a:gd name="connsiteY1" fmla="*/ 387222 h 7971178"/>
              <a:gd name="connsiteX2" fmla="*/ 3103178 w 4868723"/>
              <a:gd name="connsiteY2" fmla="*/ 422040 h 7971178"/>
              <a:gd name="connsiteX3" fmla="*/ 4866576 w 4868723"/>
              <a:gd name="connsiteY3" fmla="*/ 3736740 h 7971178"/>
              <a:gd name="connsiteX4" fmla="*/ 2751486 w 4868723"/>
              <a:gd name="connsiteY4" fmla="*/ 7280040 h 7971178"/>
              <a:gd name="connsiteX5" fmla="*/ 192591 w 4868723"/>
              <a:gd name="connsiteY5" fmla="*/ 7277850 h 7971178"/>
              <a:gd name="connsiteX0" fmla="*/ 193427 w 4869559"/>
              <a:gd name="connsiteY0" fmla="*/ 7163116 h 7856444"/>
              <a:gd name="connsiteX1" fmla="*/ 182833 w 4869559"/>
              <a:gd name="connsiteY1" fmla="*/ 272488 h 7856444"/>
              <a:gd name="connsiteX2" fmla="*/ 3104014 w 4869559"/>
              <a:gd name="connsiteY2" fmla="*/ 307306 h 7856444"/>
              <a:gd name="connsiteX3" fmla="*/ 4867412 w 4869559"/>
              <a:gd name="connsiteY3" fmla="*/ 3622006 h 7856444"/>
              <a:gd name="connsiteX4" fmla="*/ 2752322 w 4869559"/>
              <a:gd name="connsiteY4" fmla="*/ 7165306 h 7856444"/>
              <a:gd name="connsiteX5" fmla="*/ 193427 w 4869559"/>
              <a:gd name="connsiteY5" fmla="*/ 7163116 h 7856444"/>
              <a:gd name="connsiteX0" fmla="*/ 170155 w 4846287"/>
              <a:gd name="connsiteY0" fmla="*/ 7143047 h 7831040"/>
              <a:gd name="connsiteX1" fmla="*/ 233007 w 4846287"/>
              <a:gd name="connsiteY1" fmla="*/ 329537 h 7831040"/>
              <a:gd name="connsiteX2" fmla="*/ 3080742 w 4846287"/>
              <a:gd name="connsiteY2" fmla="*/ 287237 h 7831040"/>
              <a:gd name="connsiteX3" fmla="*/ 4844140 w 4846287"/>
              <a:gd name="connsiteY3" fmla="*/ 3601937 h 7831040"/>
              <a:gd name="connsiteX4" fmla="*/ 2729050 w 4846287"/>
              <a:gd name="connsiteY4" fmla="*/ 7145237 h 7831040"/>
              <a:gd name="connsiteX5" fmla="*/ 170155 w 4846287"/>
              <a:gd name="connsiteY5" fmla="*/ 7143047 h 7831040"/>
              <a:gd name="connsiteX0" fmla="*/ 188486 w 4864618"/>
              <a:gd name="connsiteY0" fmla="*/ 7162098 h 7855172"/>
              <a:gd name="connsiteX1" fmla="*/ 192581 w 4864618"/>
              <a:gd name="connsiteY1" fmla="*/ 275143 h 7855172"/>
              <a:gd name="connsiteX2" fmla="*/ 3099073 w 4864618"/>
              <a:gd name="connsiteY2" fmla="*/ 306288 h 7855172"/>
              <a:gd name="connsiteX3" fmla="*/ 4862471 w 4864618"/>
              <a:gd name="connsiteY3" fmla="*/ 3620988 h 7855172"/>
              <a:gd name="connsiteX4" fmla="*/ 2747381 w 4864618"/>
              <a:gd name="connsiteY4" fmla="*/ 7164288 h 7855172"/>
              <a:gd name="connsiteX5" fmla="*/ 188486 w 4864618"/>
              <a:gd name="connsiteY5" fmla="*/ 7162098 h 785517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181559 h 7874633"/>
              <a:gd name="connsiteX1" fmla="*/ 344138 w 5016181"/>
              <a:gd name="connsiteY1" fmla="*/ 294604 h 7874633"/>
              <a:gd name="connsiteX2" fmla="*/ 3254303 w 5016181"/>
              <a:gd name="connsiteY2" fmla="*/ 296371 h 7874633"/>
              <a:gd name="connsiteX3" fmla="*/ 5014028 w 5016181"/>
              <a:gd name="connsiteY3" fmla="*/ 3640449 h 7874633"/>
              <a:gd name="connsiteX4" fmla="*/ 2898938 w 5016181"/>
              <a:gd name="connsiteY4" fmla="*/ 7183749 h 7874633"/>
              <a:gd name="connsiteX5" fmla="*/ 340043 w 5016181"/>
              <a:gd name="connsiteY5" fmla="*/ 7181559 h 7874633"/>
              <a:gd name="connsiteX0" fmla="*/ 340043 w 5016181"/>
              <a:gd name="connsiteY0" fmla="*/ 7183197 h 7876271"/>
              <a:gd name="connsiteX1" fmla="*/ 344138 w 5016181"/>
              <a:gd name="connsiteY1" fmla="*/ 296242 h 7876271"/>
              <a:gd name="connsiteX2" fmla="*/ 3254303 w 5016181"/>
              <a:gd name="connsiteY2" fmla="*/ 298009 h 7876271"/>
              <a:gd name="connsiteX3" fmla="*/ 5014028 w 5016181"/>
              <a:gd name="connsiteY3" fmla="*/ 3642087 h 7876271"/>
              <a:gd name="connsiteX4" fmla="*/ 2898938 w 5016181"/>
              <a:gd name="connsiteY4" fmla="*/ 7185387 h 7876271"/>
              <a:gd name="connsiteX5" fmla="*/ 340043 w 5016181"/>
              <a:gd name="connsiteY5" fmla="*/ 7183197 h 7876271"/>
              <a:gd name="connsiteX0" fmla="*/ 340043 w 5016181"/>
              <a:gd name="connsiteY0" fmla="*/ 7184031 h 7877324"/>
              <a:gd name="connsiteX1" fmla="*/ 344138 w 5016181"/>
              <a:gd name="connsiteY1" fmla="*/ 293901 h 7877324"/>
              <a:gd name="connsiteX2" fmla="*/ 3254303 w 5016181"/>
              <a:gd name="connsiteY2" fmla="*/ 298843 h 7877324"/>
              <a:gd name="connsiteX3" fmla="*/ 5014028 w 5016181"/>
              <a:gd name="connsiteY3" fmla="*/ 3642921 h 7877324"/>
              <a:gd name="connsiteX4" fmla="*/ 2898938 w 5016181"/>
              <a:gd name="connsiteY4" fmla="*/ 7186221 h 7877324"/>
              <a:gd name="connsiteX5" fmla="*/ 340043 w 5016181"/>
              <a:gd name="connsiteY5" fmla="*/ 7184031 h 7877324"/>
              <a:gd name="connsiteX0" fmla="*/ 338200 w 5014338"/>
              <a:gd name="connsiteY0" fmla="*/ 7184031 h 7877324"/>
              <a:gd name="connsiteX1" fmla="*/ 345470 w 5014338"/>
              <a:gd name="connsiteY1" fmla="*/ 293901 h 7877324"/>
              <a:gd name="connsiteX2" fmla="*/ 3252460 w 5014338"/>
              <a:gd name="connsiteY2" fmla="*/ 298843 h 7877324"/>
              <a:gd name="connsiteX3" fmla="*/ 5012185 w 5014338"/>
              <a:gd name="connsiteY3" fmla="*/ 3642921 h 7877324"/>
              <a:gd name="connsiteX4" fmla="*/ 2897095 w 5014338"/>
              <a:gd name="connsiteY4" fmla="*/ 7186221 h 7877324"/>
              <a:gd name="connsiteX5" fmla="*/ 338200 w 5014338"/>
              <a:gd name="connsiteY5" fmla="*/ 7184031 h 7877324"/>
              <a:gd name="connsiteX0" fmla="*/ 338200 w 5014338"/>
              <a:gd name="connsiteY0" fmla="*/ 7183318 h 7876611"/>
              <a:gd name="connsiteX1" fmla="*/ 345470 w 5014338"/>
              <a:gd name="connsiteY1" fmla="*/ 293188 h 7876611"/>
              <a:gd name="connsiteX2" fmla="*/ 3252460 w 5014338"/>
              <a:gd name="connsiteY2" fmla="*/ 298130 h 7876611"/>
              <a:gd name="connsiteX3" fmla="*/ 5012185 w 5014338"/>
              <a:gd name="connsiteY3" fmla="*/ 3642208 h 7876611"/>
              <a:gd name="connsiteX4" fmla="*/ 2897095 w 5014338"/>
              <a:gd name="connsiteY4" fmla="*/ 7185508 h 7876611"/>
              <a:gd name="connsiteX5" fmla="*/ 338200 w 5014338"/>
              <a:gd name="connsiteY5" fmla="*/ 7183318 h 7876611"/>
              <a:gd name="connsiteX0" fmla="*/ 189227 w 4865365"/>
              <a:gd name="connsiteY0" fmla="*/ 7183318 h 7876611"/>
              <a:gd name="connsiteX1" fmla="*/ 196497 w 4865365"/>
              <a:gd name="connsiteY1" fmla="*/ 293188 h 7876611"/>
              <a:gd name="connsiteX2" fmla="*/ 3103487 w 4865365"/>
              <a:gd name="connsiteY2" fmla="*/ 298130 h 7876611"/>
              <a:gd name="connsiteX3" fmla="*/ 4863212 w 4865365"/>
              <a:gd name="connsiteY3" fmla="*/ 3642208 h 7876611"/>
              <a:gd name="connsiteX4" fmla="*/ 2748122 w 4865365"/>
              <a:gd name="connsiteY4" fmla="*/ 7185508 h 7876611"/>
              <a:gd name="connsiteX5" fmla="*/ 189227 w 4865365"/>
              <a:gd name="connsiteY5" fmla="*/ 7183318 h 7876611"/>
              <a:gd name="connsiteX0" fmla="*/ 192432 w 4868570"/>
              <a:gd name="connsiteY0" fmla="*/ 7183318 h 7876611"/>
              <a:gd name="connsiteX1" fmla="*/ 190177 w 4868570"/>
              <a:gd name="connsiteY1" fmla="*/ 293188 h 7876611"/>
              <a:gd name="connsiteX2" fmla="*/ 3106692 w 4868570"/>
              <a:gd name="connsiteY2" fmla="*/ 298130 h 7876611"/>
              <a:gd name="connsiteX3" fmla="*/ 4866417 w 4868570"/>
              <a:gd name="connsiteY3" fmla="*/ 3642208 h 7876611"/>
              <a:gd name="connsiteX4" fmla="*/ 2751327 w 4868570"/>
              <a:gd name="connsiteY4" fmla="*/ 7185508 h 7876611"/>
              <a:gd name="connsiteX5" fmla="*/ 192432 w 4868570"/>
              <a:gd name="connsiteY5" fmla="*/ 7183318 h 7876611"/>
              <a:gd name="connsiteX0" fmla="*/ 190287 w 4866425"/>
              <a:gd name="connsiteY0" fmla="*/ 7183318 h 7876611"/>
              <a:gd name="connsiteX1" fmla="*/ 188032 w 4866425"/>
              <a:gd name="connsiteY1" fmla="*/ 293188 h 7876611"/>
              <a:gd name="connsiteX2" fmla="*/ 3104547 w 4866425"/>
              <a:gd name="connsiteY2" fmla="*/ 298130 h 7876611"/>
              <a:gd name="connsiteX3" fmla="*/ 4864272 w 4866425"/>
              <a:gd name="connsiteY3" fmla="*/ 3642208 h 7876611"/>
              <a:gd name="connsiteX4" fmla="*/ 2749182 w 4866425"/>
              <a:gd name="connsiteY4" fmla="*/ 7185508 h 7876611"/>
              <a:gd name="connsiteX5" fmla="*/ 190287 w 4866425"/>
              <a:gd name="connsiteY5" fmla="*/ 7183318 h 7876611"/>
              <a:gd name="connsiteX0" fmla="*/ 190287 w 4866425"/>
              <a:gd name="connsiteY0" fmla="*/ 7154743 h 7859802"/>
              <a:gd name="connsiteX1" fmla="*/ 188032 w 4866425"/>
              <a:gd name="connsiteY1" fmla="*/ 293188 h 7859802"/>
              <a:gd name="connsiteX2" fmla="*/ 3104547 w 4866425"/>
              <a:gd name="connsiteY2" fmla="*/ 298130 h 7859802"/>
              <a:gd name="connsiteX3" fmla="*/ 4864272 w 4866425"/>
              <a:gd name="connsiteY3" fmla="*/ 3642208 h 7859802"/>
              <a:gd name="connsiteX4" fmla="*/ 2749182 w 4866425"/>
              <a:gd name="connsiteY4" fmla="*/ 7185508 h 7859802"/>
              <a:gd name="connsiteX5" fmla="*/ 190287 w 4866425"/>
              <a:gd name="connsiteY5" fmla="*/ 7154743 h 7859802"/>
              <a:gd name="connsiteX0" fmla="*/ 2255 w 4678393"/>
              <a:gd name="connsiteY0" fmla="*/ 7154743 h 7872894"/>
              <a:gd name="connsiteX1" fmla="*/ 0 w 4678393"/>
              <a:gd name="connsiteY1" fmla="*/ 293188 h 7872894"/>
              <a:gd name="connsiteX2" fmla="*/ 2916515 w 4678393"/>
              <a:gd name="connsiteY2" fmla="*/ 298130 h 7872894"/>
              <a:gd name="connsiteX3" fmla="*/ 4676240 w 4678393"/>
              <a:gd name="connsiteY3" fmla="*/ 3642208 h 7872894"/>
              <a:gd name="connsiteX4" fmla="*/ 2561150 w 4678393"/>
              <a:gd name="connsiteY4" fmla="*/ 7185508 h 7872894"/>
              <a:gd name="connsiteX5" fmla="*/ 2255 w 4678393"/>
              <a:gd name="connsiteY5" fmla="*/ 7154743 h 7872894"/>
              <a:gd name="connsiteX0" fmla="*/ 2822 w 4678960"/>
              <a:gd name="connsiteY0" fmla="*/ 7154743 h 7874206"/>
              <a:gd name="connsiteX1" fmla="*/ 567 w 4678960"/>
              <a:gd name="connsiteY1" fmla="*/ 293188 h 7874206"/>
              <a:gd name="connsiteX2" fmla="*/ 2917082 w 4678960"/>
              <a:gd name="connsiteY2" fmla="*/ 298130 h 7874206"/>
              <a:gd name="connsiteX3" fmla="*/ 4676807 w 4678960"/>
              <a:gd name="connsiteY3" fmla="*/ 3642208 h 7874206"/>
              <a:gd name="connsiteX4" fmla="*/ 2561717 w 4678960"/>
              <a:gd name="connsiteY4" fmla="*/ 7185508 h 7874206"/>
              <a:gd name="connsiteX5" fmla="*/ 2822 w 4678960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473936"/>
              <a:gd name="connsiteX1" fmla="*/ 0 w 4678393"/>
              <a:gd name="connsiteY1" fmla="*/ 293188 h 7473936"/>
              <a:gd name="connsiteX2" fmla="*/ 2916515 w 4678393"/>
              <a:gd name="connsiteY2" fmla="*/ 298130 h 7473936"/>
              <a:gd name="connsiteX3" fmla="*/ 4676240 w 4678393"/>
              <a:gd name="connsiteY3" fmla="*/ 3642208 h 7473936"/>
              <a:gd name="connsiteX4" fmla="*/ 2561150 w 4678393"/>
              <a:gd name="connsiteY4" fmla="*/ 7185508 h 7473936"/>
              <a:gd name="connsiteX5" fmla="*/ 2255 w 4678393"/>
              <a:gd name="connsiteY5" fmla="*/ 7154743 h 7473936"/>
              <a:gd name="connsiteX0" fmla="*/ 2255 w 4678393"/>
              <a:gd name="connsiteY0" fmla="*/ 7154743 h 7450206"/>
              <a:gd name="connsiteX1" fmla="*/ 0 w 4678393"/>
              <a:gd name="connsiteY1" fmla="*/ 293188 h 7450206"/>
              <a:gd name="connsiteX2" fmla="*/ 2916515 w 4678393"/>
              <a:gd name="connsiteY2" fmla="*/ 298130 h 7450206"/>
              <a:gd name="connsiteX3" fmla="*/ 4676240 w 4678393"/>
              <a:gd name="connsiteY3" fmla="*/ 3642208 h 7450206"/>
              <a:gd name="connsiteX4" fmla="*/ 2564325 w 4678393"/>
              <a:gd name="connsiteY4" fmla="*/ 7153758 h 7450206"/>
              <a:gd name="connsiteX5" fmla="*/ 2255 w 4678393"/>
              <a:gd name="connsiteY5" fmla="*/ 7154743 h 7450206"/>
              <a:gd name="connsiteX0" fmla="*/ 2255 w 4678393"/>
              <a:gd name="connsiteY0" fmla="*/ 7154743 h 7154743"/>
              <a:gd name="connsiteX1" fmla="*/ 0 w 4678393"/>
              <a:gd name="connsiteY1" fmla="*/ 293188 h 7154743"/>
              <a:gd name="connsiteX2" fmla="*/ 2916515 w 4678393"/>
              <a:gd name="connsiteY2" fmla="*/ 298130 h 7154743"/>
              <a:gd name="connsiteX3" fmla="*/ 4676240 w 4678393"/>
              <a:gd name="connsiteY3" fmla="*/ 3642208 h 7154743"/>
              <a:gd name="connsiteX4" fmla="*/ 2564325 w 4678393"/>
              <a:gd name="connsiteY4" fmla="*/ 7153758 h 7154743"/>
              <a:gd name="connsiteX5" fmla="*/ 2255 w 4678393"/>
              <a:gd name="connsiteY5" fmla="*/ 7154743 h 7154743"/>
              <a:gd name="connsiteX0" fmla="*/ 2255 w 4678393"/>
              <a:gd name="connsiteY0" fmla="*/ 6861555 h 6861555"/>
              <a:gd name="connsiteX1" fmla="*/ 0 w 4678393"/>
              <a:gd name="connsiteY1" fmla="*/ 0 h 6861555"/>
              <a:gd name="connsiteX2" fmla="*/ 2916515 w 4678393"/>
              <a:gd name="connsiteY2" fmla="*/ 4942 h 6861555"/>
              <a:gd name="connsiteX3" fmla="*/ 4676240 w 4678393"/>
              <a:gd name="connsiteY3" fmla="*/ 3349020 h 6861555"/>
              <a:gd name="connsiteX4" fmla="*/ 2564325 w 4678393"/>
              <a:gd name="connsiteY4" fmla="*/ 6860570 h 6861555"/>
              <a:gd name="connsiteX5" fmla="*/ 2255 w 4678393"/>
              <a:gd name="connsiteY5" fmla="*/ 6861555 h 6861555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9009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8377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3061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71578"/>
              <a:gd name="connsiteX1" fmla="*/ 0 w 4678399"/>
              <a:gd name="connsiteY1" fmla="*/ 1408 h 6871578"/>
              <a:gd name="connsiteX2" fmla="*/ 2919690 w 4678399"/>
              <a:gd name="connsiteY2" fmla="*/ 0 h 6871578"/>
              <a:gd name="connsiteX3" fmla="*/ 4676240 w 4678399"/>
              <a:gd name="connsiteY3" fmla="*/ 3350428 h 6871578"/>
              <a:gd name="connsiteX4" fmla="*/ 2521796 w 4678399"/>
              <a:gd name="connsiteY4" fmla="*/ 6871578 h 6871578"/>
              <a:gd name="connsiteX5" fmla="*/ 2255 w 4678399"/>
              <a:gd name="connsiteY5" fmla="*/ 6862963 h 6871578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6240" h="6862963">
                <a:moveTo>
                  <a:pt x="2255" y="6862963"/>
                </a:moveTo>
                <a:cubicBezTo>
                  <a:pt x="847" y="5679318"/>
                  <a:pt x="65" y="1117189"/>
                  <a:pt x="0" y="1408"/>
                </a:cubicBezTo>
                <a:lnTo>
                  <a:pt x="2919690" y="0"/>
                </a:lnTo>
                <a:cubicBezTo>
                  <a:pt x="3347209" y="321191"/>
                  <a:pt x="4644479" y="1245147"/>
                  <a:pt x="4676240" y="3350428"/>
                </a:cubicBezTo>
                <a:cubicBezTo>
                  <a:pt x="4625578" y="5097946"/>
                  <a:pt x="3667890" y="6255680"/>
                  <a:pt x="2516480" y="6860945"/>
                </a:cubicBezTo>
                <a:lnTo>
                  <a:pt x="2255" y="6862963"/>
                </a:lnTo>
                <a:close/>
              </a:path>
            </a:pathLst>
          </a:custGeom>
          <a:ln>
            <a:noFill/>
          </a:ln>
          <a:extLst>
            <a:ext uri="{91240B29-F687-4f45-9708-019B960494DF}"/>
          </a:extLst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152826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666343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3" descr="white_dots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37585" y="3175"/>
            <a:ext cx="11049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32"/>
          <p:cNvSpPr>
            <a:spLocks noGrp="1"/>
          </p:cNvSpPr>
          <p:nvPr>
            <p:ph type="title"/>
          </p:nvPr>
        </p:nvSpPr>
        <p:spPr>
          <a:xfrm>
            <a:off x="1972733" y="2152650"/>
            <a:ext cx="9558867" cy="2552700"/>
          </a:xfrm>
          <a:prstGeom prst="rect">
            <a:avLst/>
          </a:prstGeom>
        </p:spPr>
        <p:txBody>
          <a:bodyPr vert="horz" anchor="ctr"/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56380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5868DF8-0066-C04C-B523-8450D0A451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533600"/>
            <a:ext cx="560134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D81E9A-BFAC-2649-8EA2-1E71B0607B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2174400"/>
            <a:ext cx="5601346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AB4DA10-386C-0E45-8192-A2D9EB1279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9322" y="1534150"/>
            <a:ext cx="5611678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BA2A10C-A80A-324D-B7BC-4A1C81054B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9322" y="2174950"/>
            <a:ext cx="5611678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4246980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rgbClr val="0C0C0C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789884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rgbClr val="0C0C0C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rgbClr val="0C0C0C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rgbClr val="0C0C0C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F9D744F-A08B-5145-BBEA-D42E6BD319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" y="1533600"/>
            <a:ext cx="4430684" cy="44306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15758072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81000" y="1601788"/>
            <a:ext cx="11430000" cy="45259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24774708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789884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F9D744F-A08B-5145-BBEA-D42E6BD319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" y="1533600"/>
            <a:ext cx="4430684" cy="44306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8203822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5868DF8-0066-C04C-B523-8450D0A451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533600"/>
            <a:ext cx="560134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D81E9A-BFAC-2649-8EA2-1E71B0607B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2174400"/>
            <a:ext cx="5601346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AB4DA10-386C-0E45-8192-A2D9EB1279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9322" y="1534150"/>
            <a:ext cx="5611678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BA2A10C-A80A-324D-B7BC-4A1C81054B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9322" y="2174950"/>
            <a:ext cx="5611678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26726320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381000" y="1533600"/>
            <a:ext cx="4590288" cy="4593600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69762059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 bwMode="ltGray">
          <a:xfrm>
            <a:off x="0" y="-9254"/>
            <a:ext cx="4672584" cy="6867254"/>
          </a:xfrm>
          <a:custGeom>
            <a:avLst/>
            <a:gdLst>
              <a:gd name="connsiteX0" fmla="*/ 0 w 8001000"/>
              <a:gd name="connsiteY0" fmla="*/ 4000500 h 8001000"/>
              <a:gd name="connsiteX1" fmla="*/ 4000500 w 8001000"/>
              <a:gd name="connsiteY1" fmla="*/ 0 h 8001000"/>
              <a:gd name="connsiteX2" fmla="*/ 8001000 w 8001000"/>
              <a:gd name="connsiteY2" fmla="*/ 4000500 h 8001000"/>
              <a:gd name="connsiteX3" fmla="*/ 4000500 w 8001000"/>
              <a:gd name="connsiteY3" fmla="*/ 8001000 h 8001000"/>
              <a:gd name="connsiteX4" fmla="*/ 0 w 8001000"/>
              <a:gd name="connsiteY4" fmla="*/ 4000500 h 8001000"/>
              <a:gd name="connsiteX0" fmla="*/ 0 w 8060683"/>
              <a:gd name="connsiteY0" fmla="*/ 4222799 h 8223299"/>
              <a:gd name="connsiteX1" fmla="*/ 4000500 w 8060683"/>
              <a:gd name="connsiteY1" fmla="*/ 222299 h 8223299"/>
              <a:gd name="connsiteX2" fmla="*/ 6237602 w 8060683"/>
              <a:gd name="connsiteY2" fmla="*/ 908099 h 8223299"/>
              <a:gd name="connsiteX3" fmla="*/ 8001000 w 8060683"/>
              <a:gd name="connsiteY3" fmla="*/ 4222799 h 8223299"/>
              <a:gd name="connsiteX4" fmla="*/ 4000500 w 8060683"/>
              <a:gd name="connsiteY4" fmla="*/ 8223299 h 8223299"/>
              <a:gd name="connsiteX5" fmla="*/ 0 w 8060683"/>
              <a:gd name="connsiteY5" fmla="*/ 4222799 h 8223299"/>
              <a:gd name="connsiteX0" fmla="*/ 8055 w 8068738"/>
              <a:gd name="connsiteY0" fmla="*/ 3760842 h 7761342"/>
              <a:gd name="connsiteX1" fmla="*/ 3296378 w 8068738"/>
              <a:gd name="connsiteY1" fmla="*/ 472519 h 7761342"/>
              <a:gd name="connsiteX2" fmla="*/ 6245657 w 8068738"/>
              <a:gd name="connsiteY2" fmla="*/ 446142 h 7761342"/>
              <a:gd name="connsiteX3" fmla="*/ 8009055 w 8068738"/>
              <a:gd name="connsiteY3" fmla="*/ 3760842 h 7761342"/>
              <a:gd name="connsiteX4" fmla="*/ 4008555 w 8068738"/>
              <a:gd name="connsiteY4" fmla="*/ 7761342 h 7761342"/>
              <a:gd name="connsiteX5" fmla="*/ 8055 w 8068738"/>
              <a:gd name="connsiteY5" fmla="*/ 3760842 h 7761342"/>
              <a:gd name="connsiteX0" fmla="*/ 6123 w 8066806"/>
              <a:gd name="connsiteY0" fmla="*/ 3768834 h 7769334"/>
              <a:gd name="connsiteX1" fmla="*/ 3373577 w 8066806"/>
              <a:gd name="connsiteY1" fmla="*/ 462926 h 7769334"/>
              <a:gd name="connsiteX2" fmla="*/ 6243725 w 8066806"/>
              <a:gd name="connsiteY2" fmla="*/ 454134 h 7769334"/>
              <a:gd name="connsiteX3" fmla="*/ 8007123 w 8066806"/>
              <a:gd name="connsiteY3" fmla="*/ 3768834 h 7769334"/>
              <a:gd name="connsiteX4" fmla="*/ 4006623 w 8066806"/>
              <a:gd name="connsiteY4" fmla="*/ 7769334 h 7769334"/>
              <a:gd name="connsiteX5" fmla="*/ 6123 w 8066806"/>
              <a:gd name="connsiteY5" fmla="*/ 3768834 h 7769334"/>
              <a:gd name="connsiteX0" fmla="*/ 6939 w 8067622"/>
              <a:gd name="connsiteY0" fmla="*/ 3768834 h 7769334"/>
              <a:gd name="connsiteX1" fmla="*/ 3339224 w 8067622"/>
              <a:gd name="connsiteY1" fmla="*/ 462926 h 7769334"/>
              <a:gd name="connsiteX2" fmla="*/ 6244541 w 8067622"/>
              <a:gd name="connsiteY2" fmla="*/ 454134 h 7769334"/>
              <a:gd name="connsiteX3" fmla="*/ 8007939 w 8067622"/>
              <a:gd name="connsiteY3" fmla="*/ 3768834 h 7769334"/>
              <a:gd name="connsiteX4" fmla="*/ 4007439 w 8067622"/>
              <a:gd name="connsiteY4" fmla="*/ 7769334 h 7769334"/>
              <a:gd name="connsiteX5" fmla="*/ 6939 w 8067622"/>
              <a:gd name="connsiteY5" fmla="*/ 3768834 h 7769334"/>
              <a:gd name="connsiteX0" fmla="*/ 6939 w 8010086"/>
              <a:gd name="connsiteY0" fmla="*/ 3768834 h 7984710"/>
              <a:gd name="connsiteX1" fmla="*/ 3339224 w 8010086"/>
              <a:gd name="connsiteY1" fmla="*/ 462926 h 7984710"/>
              <a:gd name="connsiteX2" fmla="*/ 6244541 w 8010086"/>
              <a:gd name="connsiteY2" fmla="*/ 454134 h 7984710"/>
              <a:gd name="connsiteX3" fmla="*/ 8007939 w 8010086"/>
              <a:gd name="connsiteY3" fmla="*/ 3768834 h 7984710"/>
              <a:gd name="connsiteX4" fmla="*/ 5892849 w 8010086"/>
              <a:gd name="connsiteY4" fmla="*/ 7057157 h 7984710"/>
              <a:gd name="connsiteX5" fmla="*/ 4007439 w 8010086"/>
              <a:gd name="connsiteY5" fmla="*/ 7769334 h 7984710"/>
              <a:gd name="connsiteX6" fmla="*/ 6939 w 8010086"/>
              <a:gd name="connsiteY6" fmla="*/ 3768834 h 7984710"/>
              <a:gd name="connsiteX0" fmla="*/ 6939 w 8010086"/>
              <a:gd name="connsiteY0" fmla="*/ 3768834 h 8061801"/>
              <a:gd name="connsiteX1" fmla="*/ 3339224 w 8010086"/>
              <a:gd name="connsiteY1" fmla="*/ 462926 h 8061801"/>
              <a:gd name="connsiteX2" fmla="*/ 6244541 w 8010086"/>
              <a:gd name="connsiteY2" fmla="*/ 454134 h 8061801"/>
              <a:gd name="connsiteX3" fmla="*/ 8007939 w 8010086"/>
              <a:gd name="connsiteY3" fmla="*/ 3768834 h 8061801"/>
              <a:gd name="connsiteX4" fmla="*/ 5892849 w 8010086"/>
              <a:gd name="connsiteY4" fmla="*/ 7312134 h 8061801"/>
              <a:gd name="connsiteX5" fmla="*/ 4007439 w 8010086"/>
              <a:gd name="connsiteY5" fmla="*/ 7769334 h 8061801"/>
              <a:gd name="connsiteX6" fmla="*/ 6939 w 8010086"/>
              <a:gd name="connsiteY6" fmla="*/ 3768834 h 8061801"/>
              <a:gd name="connsiteX0" fmla="*/ 6 w 8003153"/>
              <a:gd name="connsiteY0" fmla="*/ 3768834 h 7779879"/>
              <a:gd name="connsiteX1" fmla="*/ 3332291 w 8003153"/>
              <a:gd name="connsiteY1" fmla="*/ 462926 h 7779879"/>
              <a:gd name="connsiteX2" fmla="*/ 6237608 w 8003153"/>
              <a:gd name="connsiteY2" fmla="*/ 454134 h 7779879"/>
              <a:gd name="connsiteX3" fmla="*/ 8001006 w 8003153"/>
              <a:gd name="connsiteY3" fmla="*/ 3768834 h 7779879"/>
              <a:gd name="connsiteX4" fmla="*/ 5885916 w 8003153"/>
              <a:gd name="connsiteY4" fmla="*/ 7312134 h 7779879"/>
              <a:gd name="connsiteX5" fmla="*/ 3349875 w 8003153"/>
              <a:gd name="connsiteY5" fmla="*/ 7303342 h 7779879"/>
              <a:gd name="connsiteX6" fmla="*/ 6 w 8003153"/>
              <a:gd name="connsiteY6" fmla="*/ 3768834 h 7779879"/>
              <a:gd name="connsiteX0" fmla="*/ 3 w 8003150"/>
              <a:gd name="connsiteY0" fmla="*/ 3768834 h 7775751"/>
              <a:gd name="connsiteX1" fmla="*/ 3332288 w 8003150"/>
              <a:gd name="connsiteY1" fmla="*/ 462926 h 7775751"/>
              <a:gd name="connsiteX2" fmla="*/ 6237605 w 8003150"/>
              <a:gd name="connsiteY2" fmla="*/ 454134 h 7775751"/>
              <a:gd name="connsiteX3" fmla="*/ 8001003 w 8003150"/>
              <a:gd name="connsiteY3" fmla="*/ 3768834 h 7775751"/>
              <a:gd name="connsiteX4" fmla="*/ 5885913 w 8003150"/>
              <a:gd name="connsiteY4" fmla="*/ 7312134 h 7775751"/>
              <a:gd name="connsiteX5" fmla="*/ 3314702 w 8003150"/>
              <a:gd name="connsiteY5" fmla="*/ 7294550 h 7775751"/>
              <a:gd name="connsiteX6" fmla="*/ 3 w 8003150"/>
              <a:gd name="connsiteY6" fmla="*/ 3768834 h 77757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35777 h 7832403"/>
              <a:gd name="connsiteX1" fmla="*/ 664079 w 5334941"/>
              <a:gd name="connsiteY1" fmla="*/ 304153 h 7832403"/>
              <a:gd name="connsiteX2" fmla="*/ 3569396 w 5334941"/>
              <a:gd name="connsiteY2" fmla="*/ 295361 h 7832403"/>
              <a:gd name="connsiteX3" fmla="*/ 5332794 w 5334941"/>
              <a:gd name="connsiteY3" fmla="*/ 3610061 h 7832403"/>
              <a:gd name="connsiteX4" fmla="*/ 3217704 w 5334941"/>
              <a:gd name="connsiteY4" fmla="*/ 7153361 h 7832403"/>
              <a:gd name="connsiteX5" fmla="*/ 646493 w 5334941"/>
              <a:gd name="connsiteY5" fmla="*/ 7135777 h 7832403"/>
              <a:gd name="connsiteX0" fmla="*/ 182720 w 4871168"/>
              <a:gd name="connsiteY0" fmla="*/ 7135777 h 7832403"/>
              <a:gd name="connsiteX1" fmla="*/ 200306 w 4871168"/>
              <a:gd name="connsiteY1" fmla="*/ 304153 h 7832403"/>
              <a:gd name="connsiteX2" fmla="*/ 3105623 w 4871168"/>
              <a:gd name="connsiteY2" fmla="*/ 295361 h 7832403"/>
              <a:gd name="connsiteX3" fmla="*/ 4869021 w 4871168"/>
              <a:gd name="connsiteY3" fmla="*/ 3610061 h 7832403"/>
              <a:gd name="connsiteX4" fmla="*/ 2753931 w 4871168"/>
              <a:gd name="connsiteY4" fmla="*/ 7153361 h 7832403"/>
              <a:gd name="connsiteX5" fmla="*/ 182720 w 4871168"/>
              <a:gd name="connsiteY5" fmla="*/ 7135777 h 7832403"/>
              <a:gd name="connsiteX0" fmla="*/ 182720 w 4871168"/>
              <a:gd name="connsiteY0" fmla="*/ 7124471 h 7821097"/>
              <a:gd name="connsiteX1" fmla="*/ 200306 w 4871168"/>
              <a:gd name="connsiteY1" fmla="*/ 292847 h 7821097"/>
              <a:gd name="connsiteX2" fmla="*/ 3105623 w 4871168"/>
              <a:gd name="connsiteY2" fmla="*/ 284055 h 7821097"/>
              <a:gd name="connsiteX3" fmla="*/ 4869021 w 4871168"/>
              <a:gd name="connsiteY3" fmla="*/ 3598755 h 7821097"/>
              <a:gd name="connsiteX4" fmla="*/ 2753931 w 4871168"/>
              <a:gd name="connsiteY4" fmla="*/ 7142055 h 7821097"/>
              <a:gd name="connsiteX5" fmla="*/ 182720 w 4871168"/>
              <a:gd name="connsiteY5" fmla="*/ 7124471 h 7821097"/>
              <a:gd name="connsiteX0" fmla="*/ 182720 w 4871168"/>
              <a:gd name="connsiteY0" fmla="*/ 7133321 h 7829947"/>
              <a:gd name="connsiteX1" fmla="*/ 200306 w 4871168"/>
              <a:gd name="connsiteY1" fmla="*/ 301697 h 7829947"/>
              <a:gd name="connsiteX2" fmla="*/ 3105623 w 4871168"/>
              <a:gd name="connsiteY2" fmla="*/ 292905 h 7829947"/>
              <a:gd name="connsiteX3" fmla="*/ 4869021 w 4871168"/>
              <a:gd name="connsiteY3" fmla="*/ 3607605 h 7829947"/>
              <a:gd name="connsiteX4" fmla="*/ 2753931 w 4871168"/>
              <a:gd name="connsiteY4" fmla="*/ 7150905 h 7829947"/>
              <a:gd name="connsiteX5" fmla="*/ 182720 w 4871168"/>
              <a:gd name="connsiteY5" fmla="*/ 7133321 h 7829947"/>
              <a:gd name="connsiteX0" fmla="*/ 186720 w 4875168"/>
              <a:gd name="connsiteY0" fmla="*/ 7137599 h 7835370"/>
              <a:gd name="connsiteX1" fmla="*/ 191837 w 4875168"/>
              <a:gd name="connsiteY1" fmla="*/ 289350 h 7835370"/>
              <a:gd name="connsiteX2" fmla="*/ 3109623 w 4875168"/>
              <a:gd name="connsiteY2" fmla="*/ 297183 h 7835370"/>
              <a:gd name="connsiteX3" fmla="*/ 4873021 w 4875168"/>
              <a:gd name="connsiteY3" fmla="*/ 3611883 h 7835370"/>
              <a:gd name="connsiteX4" fmla="*/ 2757931 w 4875168"/>
              <a:gd name="connsiteY4" fmla="*/ 7155183 h 7835370"/>
              <a:gd name="connsiteX5" fmla="*/ 186720 w 4875168"/>
              <a:gd name="connsiteY5" fmla="*/ 7137599 h 7835370"/>
              <a:gd name="connsiteX0" fmla="*/ 171307 w 4859755"/>
              <a:gd name="connsiteY0" fmla="*/ 7112714 h 7803338"/>
              <a:gd name="connsiteX1" fmla="*/ 226300 w 4859755"/>
              <a:gd name="connsiteY1" fmla="*/ 368374 h 7803338"/>
              <a:gd name="connsiteX2" fmla="*/ 3094210 w 4859755"/>
              <a:gd name="connsiteY2" fmla="*/ 272298 h 7803338"/>
              <a:gd name="connsiteX3" fmla="*/ 4857608 w 4859755"/>
              <a:gd name="connsiteY3" fmla="*/ 3586998 h 7803338"/>
              <a:gd name="connsiteX4" fmla="*/ 2742518 w 4859755"/>
              <a:gd name="connsiteY4" fmla="*/ 7130298 h 7803338"/>
              <a:gd name="connsiteX5" fmla="*/ 171307 w 4859755"/>
              <a:gd name="connsiteY5" fmla="*/ 7112714 h 7803338"/>
              <a:gd name="connsiteX0" fmla="*/ 184041 w 4872489"/>
              <a:gd name="connsiteY0" fmla="*/ 7134379 h 7831291"/>
              <a:gd name="connsiteX1" fmla="*/ 197470 w 4872489"/>
              <a:gd name="connsiteY1" fmla="*/ 298599 h 7831291"/>
              <a:gd name="connsiteX2" fmla="*/ 3106944 w 4872489"/>
              <a:gd name="connsiteY2" fmla="*/ 293963 h 7831291"/>
              <a:gd name="connsiteX3" fmla="*/ 4870342 w 4872489"/>
              <a:gd name="connsiteY3" fmla="*/ 3608663 h 7831291"/>
              <a:gd name="connsiteX4" fmla="*/ 2755252 w 4872489"/>
              <a:gd name="connsiteY4" fmla="*/ 7151963 h 7831291"/>
              <a:gd name="connsiteX5" fmla="*/ 184041 w 4872489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9716 w 4868927"/>
              <a:gd name="connsiteY0" fmla="*/ 7152851 h 7842196"/>
              <a:gd name="connsiteX1" fmla="*/ 193908 w 4868927"/>
              <a:gd name="connsiteY1" fmla="*/ 298599 h 7842196"/>
              <a:gd name="connsiteX2" fmla="*/ 3103382 w 4868927"/>
              <a:gd name="connsiteY2" fmla="*/ 293963 h 7842196"/>
              <a:gd name="connsiteX3" fmla="*/ 4866780 w 4868927"/>
              <a:gd name="connsiteY3" fmla="*/ 3608663 h 7842196"/>
              <a:gd name="connsiteX4" fmla="*/ 2751690 w 4868927"/>
              <a:gd name="connsiteY4" fmla="*/ 7151963 h 7842196"/>
              <a:gd name="connsiteX5" fmla="*/ 189716 w 4868927"/>
              <a:gd name="connsiteY5" fmla="*/ 7152851 h 7842196"/>
              <a:gd name="connsiteX0" fmla="*/ 2 w 4679213"/>
              <a:gd name="connsiteY0" fmla="*/ 7152851 h 7447842"/>
              <a:gd name="connsiteX1" fmla="*/ 4194 w 4679213"/>
              <a:gd name="connsiteY1" fmla="*/ 298599 h 7447842"/>
              <a:gd name="connsiteX2" fmla="*/ 2913668 w 4679213"/>
              <a:gd name="connsiteY2" fmla="*/ 293963 h 7447842"/>
              <a:gd name="connsiteX3" fmla="*/ 4677066 w 4679213"/>
              <a:gd name="connsiteY3" fmla="*/ 3608663 h 7447842"/>
              <a:gd name="connsiteX4" fmla="*/ 2561976 w 4679213"/>
              <a:gd name="connsiteY4" fmla="*/ 7151963 h 7447842"/>
              <a:gd name="connsiteX5" fmla="*/ 2 w 4679213"/>
              <a:gd name="connsiteY5" fmla="*/ 7152851 h 7447842"/>
              <a:gd name="connsiteX0" fmla="*/ 232986 w 4675130"/>
              <a:gd name="connsiteY0" fmla="*/ 7082039 h 7430577"/>
              <a:gd name="connsiteX1" fmla="*/ 111 w 4675130"/>
              <a:gd name="connsiteY1" fmla="*/ 298599 h 7430577"/>
              <a:gd name="connsiteX2" fmla="*/ 2909585 w 4675130"/>
              <a:gd name="connsiteY2" fmla="*/ 293963 h 7430577"/>
              <a:gd name="connsiteX3" fmla="*/ 4672983 w 4675130"/>
              <a:gd name="connsiteY3" fmla="*/ 3608663 h 7430577"/>
              <a:gd name="connsiteX4" fmla="*/ 2557893 w 4675130"/>
              <a:gd name="connsiteY4" fmla="*/ 7151963 h 7430577"/>
              <a:gd name="connsiteX5" fmla="*/ 232986 w 4675130"/>
              <a:gd name="connsiteY5" fmla="*/ 7082039 h 7430577"/>
              <a:gd name="connsiteX0" fmla="*/ 1481 w 4677613"/>
              <a:gd name="connsiteY0" fmla="*/ 7149773 h 7447048"/>
              <a:gd name="connsiteX1" fmla="*/ 2594 w 4677613"/>
              <a:gd name="connsiteY1" fmla="*/ 298599 h 7447048"/>
              <a:gd name="connsiteX2" fmla="*/ 2912068 w 4677613"/>
              <a:gd name="connsiteY2" fmla="*/ 293963 h 7447048"/>
              <a:gd name="connsiteX3" fmla="*/ 4675466 w 4677613"/>
              <a:gd name="connsiteY3" fmla="*/ 3608663 h 7447048"/>
              <a:gd name="connsiteX4" fmla="*/ 2560376 w 4677613"/>
              <a:gd name="connsiteY4" fmla="*/ 7151963 h 7447048"/>
              <a:gd name="connsiteX5" fmla="*/ 1481 w 4677613"/>
              <a:gd name="connsiteY5" fmla="*/ 7149773 h 7447048"/>
              <a:gd name="connsiteX0" fmla="*/ 165734 w 4841866"/>
              <a:gd name="connsiteY0" fmla="*/ 7139154 h 7826771"/>
              <a:gd name="connsiteX1" fmla="*/ 246896 w 4841866"/>
              <a:gd name="connsiteY1" fmla="*/ 331083 h 7826771"/>
              <a:gd name="connsiteX2" fmla="*/ 3076321 w 4841866"/>
              <a:gd name="connsiteY2" fmla="*/ 283344 h 7826771"/>
              <a:gd name="connsiteX3" fmla="*/ 4839719 w 4841866"/>
              <a:gd name="connsiteY3" fmla="*/ 3598044 h 7826771"/>
              <a:gd name="connsiteX4" fmla="*/ 2724629 w 4841866"/>
              <a:gd name="connsiteY4" fmla="*/ 7141344 h 7826771"/>
              <a:gd name="connsiteX5" fmla="*/ 165734 w 4841866"/>
              <a:gd name="connsiteY5" fmla="*/ 7139154 h 7826771"/>
              <a:gd name="connsiteX0" fmla="*/ 192597 w 4868729"/>
              <a:gd name="connsiteY0" fmla="*/ 7111990 h 7790893"/>
              <a:gd name="connsiteX1" fmla="*/ 187553 w 4868729"/>
              <a:gd name="connsiteY1" fmla="*/ 430149 h 7790893"/>
              <a:gd name="connsiteX2" fmla="*/ 3103184 w 4868729"/>
              <a:gd name="connsiteY2" fmla="*/ 256180 h 7790893"/>
              <a:gd name="connsiteX3" fmla="*/ 4866582 w 4868729"/>
              <a:gd name="connsiteY3" fmla="*/ 3570880 h 7790893"/>
              <a:gd name="connsiteX4" fmla="*/ 2751492 w 4868729"/>
              <a:gd name="connsiteY4" fmla="*/ 7114180 h 7790893"/>
              <a:gd name="connsiteX5" fmla="*/ 192597 w 4868729"/>
              <a:gd name="connsiteY5" fmla="*/ 7111990 h 7790893"/>
              <a:gd name="connsiteX0" fmla="*/ 135176 w 4811308"/>
              <a:gd name="connsiteY0" fmla="*/ 7105556 h 7782125"/>
              <a:gd name="connsiteX1" fmla="*/ 336411 w 4811308"/>
              <a:gd name="connsiteY1" fmla="*/ 457582 h 7782125"/>
              <a:gd name="connsiteX2" fmla="*/ 3045763 w 4811308"/>
              <a:gd name="connsiteY2" fmla="*/ 249746 h 7782125"/>
              <a:gd name="connsiteX3" fmla="*/ 4809161 w 4811308"/>
              <a:gd name="connsiteY3" fmla="*/ 3564446 h 7782125"/>
              <a:gd name="connsiteX4" fmla="*/ 2694071 w 4811308"/>
              <a:gd name="connsiteY4" fmla="*/ 7107746 h 7782125"/>
              <a:gd name="connsiteX5" fmla="*/ 135176 w 4811308"/>
              <a:gd name="connsiteY5" fmla="*/ 7105556 h 7782125"/>
              <a:gd name="connsiteX0" fmla="*/ 157213 w 4833345"/>
              <a:gd name="connsiteY0" fmla="*/ 7115639 h 7795816"/>
              <a:gd name="connsiteX1" fmla="*/ 269163 w 4833345"/>
              <a:gd name="connsiteY1" fmla="*/ 415325 h 7795816"/>
              <a:gd name="connsiteX2" fmla="*/ 3067800 w 4833345"/>
              <a:gd name="connsiteY2" fmla="*/ 259829 h 7795816"/>
              <a:gd name="connsiteX3" fmla="*/ 4831198 w 4833345"/>
              <a:gd name="connsiteY3" fmla="*/ 3574529 h 7795816"/>
              <a:gd name="connsiteX4" fmla="*/ 2716108 w 4833345"/>
              <a:gd name="connsiteY4" fmla="*/ 7117829 h 7795816"/>
              <a:gd name="connsiteX5" fmla="*/ 157213 w 4833345"/>
              <a:gd name="connsiteY5" fmla="*/ 7115639 h 7795816"/>
              <a:gd name="connsiteX0" fmla="*/ 156353 w 4832485"/>
              <a:gd name="connsiteY0" fmla="*/ 7115639 h 7795816"/>
              <a:gd name="connsiteX1" fmla="*/ 268303 w 4832485"/>
              <a:gd name="connsiteY1" fmla="*/ 415325 h 7795816"/>
              <a:gd name="connsiteX2" fmla="*/ 3066940 w 4832485"/>
              <a:gd name="connsiteY2" fmla="*/ 259829 h 7795816"/>
              <a:gd name="connsiteX3" fmla="*/ 4830338 w 4832485"/>
              <a:gd name="connsiteY3" fmla="*/ 3574529 h 7795816"/>
              <a:gd name="connsiteX4" fmla="*/ 2715248 w 4832485"/>
              <a:gd name="connsiteY4" fmla="*/ 7117829 h 7795816"/>
              <a:gd name="connsiteX5" fmla="*/ 156353 w 4832485"/>
              <a:gd name="connsiteY5" fmla="*/ 7115639 h 7795816"/>
              <a:gd name="connsiteX0" fmla="*/ 162218 w 4838350"/>
              <a:gd name="connsiteY0" fmla="*/ 7153758 h 7845421"/>
              <a:gd name="connsiteX1" fmla="*/ 252617 w 4838350"/>
              <a:gd name="connsiteY1" fmla="*/ 287189 h 7845421"/>
              <a:gd name="connsiteX2" fmla="*/ 3072805 w 4838350"/>
              <a:gd name="connsiteY2" fmla="*/ 297948 h 7845421"/>
              <a:gd name="connsiteX3" fmla="*/ 4836203 w 4838350"/>
              <a:gd name="connsiteY3" fmla="*/ 3612648 h 7845421"/>
              <a:gd name="connsiteX4" fmla="*/ 2721113 w 4838350"/>
              <a:gd name="connsiteY4" fmla="*/ 7155948 h 7845421"/>
              <a:gd name="connsiteX5" fmla="*/ 162218 w 4838350"/>
              <a:gd name="connsiteY5" fmla="*/ 7153758 h 7845421"/>
              <a:gd name="connsiteX0" fmla="*/ 162218 w 4838350"/>
              <a:gd name="connsiteY0" fmla="*/ 7127231 h 7811232"/>
              <a:gd name="connsiteX1" fmla="*/ 252617 w 4838350"/>
              <a:gd name="connsiteY1" fmla="*/ 371498 h 7811232"/>
              <a:gd name="connsiteX2" fmla="*/ 3072805 w 4838350"/>
              <a:gd name="connsiteY2" fmla="*/ 271421 h 7811232"/>
              <a:gd name="connsiteX3" fmla="*/ 4836203 w 4838350"/>
              <a:gd name="connsiteY3" fmla="*/ 3586121 h 7811232"/>
              <a:gd name="connsiteX4" fmla="*/ 2721113 w 4838350"/>
              <a:gd name="connsiteY4" fmla="*/ 7129421 h 7811232"/>
              <a:gd name="connsiteX5" fmla="*/ 162218 w 4838350"/>
              <a:gd name="connsiteY5" fmla="*/ 7127231 h 7811232"/>
              <a:gd name="connsiteX0" fmla="*/ 169100 w 4845232"/>
              <a:gd name="connsiteY0" fmla="*/ 7127237 h 7811238"/>
              <a:gd name="connsiteX1" fmla="*/ 259499 w 4845232"/>
              <a:gd name="connsiteY1" fmla="*/ 371504 h 7811238"/>
              <a:gd name="connsiteX2" fmla="*/ 3079687 w 4845232"/>
              <a:gd name="connsiteY2" fmla="*/ 271427 h 7811238"/>
              <a:gd name="connsiteX3" fmla="*/ 4843085 w 4845232"/>
              <a:gd name="connsiteY3" fmla="*/ 3586127 h 7811238"/>
              <a:gd name="connsiteX4" fmla="*/ 2727995 w 4845232"/>
              <a:gd name="connsiteY4" fmla="*/ 7129427 h 7811238"/>
              <a:gd name="connsiteX5" fmla="*/ 169100 w 4845232"/>
              <a:gd name="connsiteY5" fmla="*/ 7127237 h 7811238"/>
              <a:gd name="connsiteX0" fmla="*/ 219843 w 4895975"/>
              <a:gd name="connsiteY0" fmla="*/ 7118137 h 7799163"/>
              <a:gd name="connsiteX1" fmla="*/ 162460 w 4895975"/>
              <a:gd name="connsiteY1" fmla="*/ 405507 h 7799163"/>
              <a:gd name="connsiteX2" fmla="*/ 3130430 w 4895975"/>
              <a:gd name="connsiteY2" fmla="*/ 262327 h 7799163"/>
              <a:gd name="connsiteX3" fmla="*/ 4893828 w 4895975"/>
              <a:gd name="connsiteY3" fmla="*/ 3577027 h 7799163"/>
              <a:gd name="connsiteX4" fmla="*/ 2778738 w 4895975"/>
              <a:gd name="connsiteY4" fmla="*/ 7120327 h 7799163"/>
              <a:gd name="connsiteX5" fmla="*/ 219843 w 4895975"/>
              <a:gd name="connsiteY5" fmla="*/ 7118137 h 7799163"/>
              <a:gd name="connsiteX0" fmla="*/ 202277 w 4878409"/>
              <a:gd name="connsiteY0" fmla="*/ 7113808 h 7793348"/>
              <a:gd name="connsiteX1" fmla="*/ 191076 w 4878409"/>
              <a:gd name="connsiteY1" fmla="*/ 422730 h 7793348"/>
              <a:gd name="connsiteX2" fmla="*/ 3112864 w 4878409"/>
              <a:gd name="connsiteY2" fmla="*/ 257998 h 7793348"/>
              <a:gd name="connsiteX3" fmla="*/ 4876262 w 4878409"/>
              <a:gd name="connsiteY3" fmla="*/ 3572698 h 7793348"/>
              <a:gd name="connsiteX4" fmla="*/ 2761172 w 4878409"/>
              <a:gd name="connsiteY4" fmla="*/ 7115998 h 7793348"/>
              <a:gd name="connsiteX5" fmla="*/ 202277 w 4878409"/>
              <a:gd name="connsiteY5" fmla="*/ 7113808 h 7793348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85583 w 4761715"/>
              <a:gd name="connsiteY0" fmla="*/ 7107672 h 7785019"/>
              <a:gd name="connsiteX1" fmla="*/ 82333 w 4761715"/>
              <a:gd name="connsiteY1" fmla="*/ 448399 h 7785019"/>
              <a:gd name="connsiteX2" fmla="*/ 2996170 w 4761715"/>
              <a:gd name="connsiteY2" fmla="*/ 251862 h 7785019"/>
              <a:gd name="connsiteX3" fmla="*/ 4759568 w 4761715"/>
              <a:gd name="connsiteY3" fmla="*/ 3566562 h 7785019"/>
              <a:gd name="connsiteX4" fmla="*/ 2644478 w 4761715"/>
              <a:gd name="connsiteY4" fmla="*/ 7109862 h 7785019"/>
              <a:gd name="connsiteX5" fmla="*/ 85583 w 4761715"/>
              <a:gd name="connsiteY5" fmla="*/ 7107672 h 7785019"/>
              <a:gd name="connsiteX0" fmla="*/ 85583 w 4761715"/>
              <a:gd name="connsiteY0" fmla="*/ 7074631 h 7751978"/>
              <a:gd name="connsiteX1" fmla="*/ 82333 w 4761715"/>
              <a:gd name="connsiteY1" fmla="*/ 415358 h 7751978"/>
              <a:gd name="connsiteX2" fmla="*/ 2996170 w 4761715"/>
              <a:gd name="connsiteY2" fmla="*/ 218821 h 7751978"/>
              <a:gd name="connsiteX3" fmla="*/ 4759568 w 4761715"/>
              <a:gd name="connsiteY3" fmla="*/ 3533521 h 7751978"/>
              <a:gd name="connsiteX4" fmla="*/ 2644478 w 4761715"/>
              <a:gd name="connsiteY4" fmla="*/ 7076821 h 7751978"/>
              <a:gd name="connsiteX5" fmla="*/ 85583 w 4761715"/>
              <a:gd name="connsiteY5" fmla="*/ 7074631 h 7751978"/>
              <a:gd name="connsiteX0" fmla="*/ 157610 w 4833742"/>
              <a:gd name="connsiteY0" fmla="*/ 7074631 h 7751978"/>
              <a:gd name="connsiteX1" fmla="*/ 154360 w 4833742"/>
              <a:gd name="connsiteY1" fmla="*/ 415358 h 7751978"/>
              <a:gd name="connsiteX2" fmla="*/ 3068197 w 4833742"/>
              <a:gd name="connsiteY2" fmla="*/ 218821 h 7751978"/>
              <a:gd name="connsiteX3" fmla="*/ 4831595 w 4833742"/>
              <a:gd name="connsiteY3" fmla="*/ 3533521 h 7751978"/>
              <a:gd name="connsiteX4" fmla="*/ 2716505 w 4833742"/>
              <a:gd name="connsiteY4" fmla="*/ 7076821 h 7751978"/>
              <a:gd name="connsiteX5" fmla="*/ 157610 w 4833742"/>
              <a:gd name="connsiteY5" fmla="*/ 7074631 h 7751978"/>
              <a:gd name="connsiteX0" fmla="*/ 345911 w 5022043"/>
              <a:gd name="connsiteY0" fmla="*/ 7098958 h 7776305"/>
              <a:gd name="connsiteX1" fmla="*/ 342661 w 5022043"/>
              <a:gd name="connsiteY1" fmla="*/ 439685 h 7776305"/>
              <a:gd name="connsiteX2" fmla="*/ 3256498 w 5022043"/>
              <a:gd name="connsiteY2" fmla="*/ 243148 h 7776305"/>
              <a:gd name="connsiteX3" fmla="*/ 5019896 w 5022043"/>
              <a:gd name="connsiteY3" fmla="*/ 3557848 h 7776305"/>
              <a:gd name="connsiteX4" fmla="*/ 2904806 w 5022043"/>
              <a:gd name="connsiteY4" fmla="*/ 7101148 h 7776305"/>
              <a:gd name="connsiteX5" fmla="*/ 345911 w 5022043"/>
              <a:gd name="connsiteY5" fmla="*/ 7098958 h 7776305"/>
              <a:gd name="connsiteX0" fmla="*/ 190117 w 4866249"/>
              <a:gd name="connsiteY0" fmla="*/ 7193225 h 7870572"/>
              <a:gd name="connsiteX1" fmla="*/ 186867 w 4866249"/>
              <a:gd name="connsiteY1" fmla="*/ 533952 h 7870572"/>
              <a:gd name="connsiteX2" fmla="*/ 3100704 w 4866249"/>
              <a:gd name="connsiteY2" fmla="*/ 337415 h 7870572"/>
              <a:gd name="connsiteX3" fmla="*/ 4864102 w 4866249"/>
              <a:gd name="connsiteY3" fmla="*/ 3652115 h 7870572"/>
              <a:gd name="connsiteX4" fmla="*/ 2749012 w 4866249"/>
              <a:gd name="connsiteY4" fmla="*/ 7195415 h 7870572"/>
              <a:gd name="connsiteX5" fmla="*/ 190117 w 4866249"/>
              <a:gd name="connsiteY5" fmla="*/ 7193225 h 7870572"/>
              <a:gd name="connsiteX0" fmla="*/ 188894 w 4865026"/>
              <a:gd name="connsiteY0" fmla="*/ 7274677 h 7967496"/>
              <a:gd name="connsiteX1" fmla="*/ 189317 w 4865026"/>
              <a:gd name="connsiteY1" fmla="*/ 391394 h 7967496"/>
              <a:gd name="connsiteX2" fmla="*/ 3099481 w 4865026"/>
              <a:gd name="connsiteY2" fmla="*/ 418867 h 7967496"/>
              <a:gd name="connsiteX3" fmla="*/ 4862879 w 4865026"/>
              <a:gd name="connsiteY3" fmla="*/ 3733567 h 7967496"/>
              <a:gd name="connsiteX4" fmla="*/ 2747789 w 4865026"/>
              <a:gd name="connsiteY4" fmla="*/ 7276867 h 7967496"/>
              <a:gd name="connsiteX5" fmla="*/ 188894 w 4865026"/>
              <a:gd name="connsiteY5" fmla="*/ 7274677 h 7967496"/>
              <a:gd name="connsiteX0" fmla="*/ 192591 w 4868723"/>
              <a:gd name="connsiteY0" fmla="*/ 7277850 h 7971178"/>
              <a:gd name="connsiteX1" fmla="*/ 181997 w 4868723"/>
              <a:gd name="connsiteY1" fmla="*/ 387222 h 7971178"/>
              <a:gd name="connsiteX2" fmla="*/ 3103178 w 4868723"/>
              <a:gd name="connsiteY2" fmla="*/ 422040 h 7971178"/>
              <a:gd name="connsiteX3" fmla="*/ 4866576 w 4868723"/>
              <a:gd name="connsiteY3" fmla="*/ 3736740 h 7971178"/>
              <a:gd name="connsiteX4" fmla="*/ 2751486 w 4868723"/>
              <a:gd name="connsiteY4" fmla="*/ 7280040 h 7971178"/>
              <a:gd name="connsiteX5" fmla="*/ 192591 w 4868723"/>
              <a:gd name="connsiteY5" fmla="*/ 7277850 h 7971178"/>
              <a:gd name="connsiteX0" fmla="*/ 193427 w 4869559"/>
              <a:gd name="connsiteY0" fmla="*/ 7163116 h 7856444"/>
              <a:gd name="connsiteX1" fmla="*/ 182833 w 4869559"/>
              <a:gd name="connsiteY1" fmla="*/ 272488 h 7856444"/>
              <a:gd name="connsiteX2" fmla="*/ 3104014 w 4869559"/>
              <a:gd name="connsiteY2" fmla="*/ 307306 h 7856444"/>
              <a:gd name="connsiteX3" fmla="*/ 4867412 w 4869559"/>
              <a:gd name="connsiteY3" fmla="*/ 3622006 h 7856444"/>
              <a:gd name="connsiteX4" fmla="*/ 2752322 w 4869559"/>
              <a:gd name="connsiteY4" fmla="*/ 7165306 h 7856444"/>
              <a:gd name="connsiteX5" fmla="*/ 193427 w 4869559"/>
              <a:gd name="connsiteY5" fmla="*/ 7163116 h 7856444"/>
              <a:gd name="connsiteX0" fmla="*/ 170155 w 4846287"/>
              <a:gd name="connsiteY0" fmla="*/ 7143047 h 7831040"/>
              <a:gd name="connsiteX1" fmla="*/ 233007 w 4846287"/>
              <a:gd name="connsiteY1" fmla="*/ 329537 h 7831040"/>
              <a:gd name="connsiteX2" fmla="*/ 3080742 w 4846287"/>
              <a:gd name="connsiteY2" fmla="*/ 287237 h 7831040"/>
              <a:gd name="connsiteX3" fmla="*/ 4844140 w 4846287"/>
              <a:gd name="connsiteY3" fmla="*/ 3601937 h 7831040"/>
              <a:gd name="connsiteX4" fmla="*/ 2729050 w 4846287"/>
              <a:gd name="connsiteY4" fmla="*/ 7145237 h 7831040"/>
              <a:gd name="connsiteX5" fmla="*/ 170155 w 4846287"/>
              <a:gd name="connsiteY5" fmla="*/ 7143047 h 7831040"/>
              <a:gd name="connsiteX0" fmla="*/ 188486 w 4864618"/>
              <a:gd name="connsiteY0" fmla="*/ 7162098 h 7855172"/>
              <a:gd name="connsiteX1" fmla="*/ 192581 w 4864618"/>
              <a:gd name="connsiteY1" fmla="*/ 275143 h 7855172"/>
              <a:gd name="connsiteX2" fmla="*/ 3099073 w 4864618"/>
              <a:gd name="connsiteY2" fmla="*/ 306288 h 7855172"/>
              <a:gd name="connsiteX3" fmla="*/ 4862471 w 4864618"/>
              <a:gd name="connsiteY3" fmla="*/ 3620988 h 7855172"/>
              <a:gd name="connsiteX4" fmla="*/ 2747381 w 4864618"/>
              <a:gd name="connsiteY4" fmla="*/ 7164288 h 7855172"/>
              <a:gd name="connsiteX5" fmla="*/ 188486 w 4864618"/>
              <a:gd name="connsiteY5" fmla="*/ 7162098 h 785517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181559 h 7874633"/>
              <a:gd name="connsiteX1" fmla="*/ 344138 w 5016181"/>
              <a:gd name="connsiteY1" fmla="*/ 294604 h 7874633"/>
              <a:gd name="connsiteX2" fmla="*/ 3254303 w 5016181"/>
              <a:gd name="connsiteY2" fmla="*/ 296371 h 7874633"/>
              <a:gd name="connsiteX3" fmla="*/ 5014028 w 5016181"/>
              <a:gd name="connsiteY3" fmla="*/ 3640449 h 7874633"/>
              <a:gd name="connsiteX4" fmla="*/ 2898938 w 5016181"/>
              <a:gd name="connsiteY4" fmla="*/ 7183749 h 7874633"/>
              <a:gd name="connsiteX5" fmla="*/ 340043 w 5016181"/>
              <a:gd name="connsiteY5" fmla="*/ 7181559 h 7874633"/>
              <a:gd name="connsiteX0" fmla="*/ 340043 w 5016181"/>
              <a:gd name="connsiteY0" fmla="*/ 7183197 h 7876271"/>
              <a:gd name="connsiteX1" fmla="*/ 344138 w 5016181"/>
              <a:gd name="connsiteY1" fmla="*/ 296242 h 7876271"/>
              <a:gd name="connsiteX2" fmla="*/ 3254303 w 5016181"/>
              <a:gd name="connsiteY2" fmla="*/ 298009 h 7876271"/>
              <a:gd name="connsiteX3" fmla="*/ 5014028 w 5016181"/>
              <a:gd name="connsiteY3" fmla="*/ 3642087 h 7876271"/>
              <a:gd name="connsiteX4" fmla="*/ 2898938 w 5016181"/>
              <a:gd name="connsiteY4" fmla="*/ 7185387 h 7876271"/>
              <a:gd name="connsiteX5" fmla="*/ 340043 w 5016181"/>
              <a:gd name="connsiteY5" fmla="*/ 7183197 h 7876271"/>
              <a:gd name="connsiteX0" fmla="*/ 340043 w 5016181"/>
              <a:gd name="connsiteY0" fmla="*/ 7184031 h 7877324"/>
              <a:gd name="connsiteX1" fmla="*/ 344138 w 5016181"/>
              <a:gd name="connsiteY1" fmla="*/ 293901 h 7877324"/>
              <a:gd name="connsiteX2" fmla="*/ 3254303 w 5016181"/>
              <a:gd name="connsiteY2" fmla="*/ 298843 h 7877324"/>
              <a:gd name="connsiteX3" fmla="*/ 5014028 w 5016181"/>
              <a:gd name="connsiteY3" fmla="*/ 3642921 h 7877324"/>
              <a:gd name="connsiteX4" fmla="*/ 2898938 w 5016181"/>
              <a:gd name="connsiteY4" fmla="*/ 7186221 h 7877324"/>
              <a:gd name="connsiteX5" fmla="*/ 340043 w 5016181"/>
              <a:gd name="connsiteY5" fmla="*/ 7184031 h 7877324"/>
              <a:gd name="connsiteX0" fmla="*/ 338200 w 5014338"/>
              <a:gd name="connsiteY0" fmla="*/ 7184031 h 7877324"/>
              <a:gd name="connsiteX1" fmla="*/ 345470 w 5014338"/>
              <a:gd name="connsiteY1" fmla="*/ 293901 h 7877324"/>
              <a:gd name="connsiteX2" fmla="*/ 3252460 w 5014338"/>
              <a:gd name="connsiteY2" fmla="*/ 298843 h 7877324"/>
              <a:gd name="connsiteX3" fmla="*/ 5012185 w 5014338"/>
              <a:gd name="connsiteY3" fmla="*/ 3642921 h 7877324"/>
              <a:gd name="connsiteX4" fmla="*/ 2897095 w 5014338"/>
              <a:gd name="connsiteY4" fmla="*/ 7186221 h 7877324"/>
              <a:gd name="connsiteX5" fmla="*/ 338200 w 5014338"/>
              <a:gd name="connsiteY5" fmla="*/ 7184031 h 7877324"/>
              <a:gd name="connsiteX0" fmla="*/ 338200 w 5014338"/>
              <a:gd name="connsiteY0" fmla="*/ 7183318 h 7876611"/>
              <a:gd name="connsiteX1" fmla="*/ 345470 w 5014338"/>
              <a:gd name="connsiteY1" fmla="*/ 293188 h 7876611"/>
              <a:gd name="connsiteX2" fmla="*/ 3252460 w 5014338"/>
              <a:gd name="connsiteY2" fmla="*/ 298130 h 7876611"/>
              <a:gd name="connsiteX3" fmla="*/ 5012185 w 5014338"/>
              <a:gd name="connsiteY3" fmla="*/ 3642208 h 7876611"/>
              <a:gd name="connsiteX4" fmla="*/ 2897095 w 5014338"/>
              <a:gd name="connsiteY4" fmla="*/ 7185508 h 7876611"/>
              <a:gd name="connsiteX5" fmla="*/ 338200 w 5014338"/>
              <a:gd name="connsiteY5" fmla="*/ 7183318 h 7876611"/>
              <a:gd name="connsiteX0" fmla="*/ 189227 w 4865365"/>
              <a:gd name="connsiteY0" fmla="*/ 7183318 h 7876611"/>
              <a:gd name="connsiteX1" fmla="*/ 196497 w 4865365"/>
              <a:gd name="connsiteY1" fmla="*/ 293188 h 7876611"/>
              <a:gd name="connsiteX2" fmla="*/ 3103487 w 4865365"/>
              <a:gd name="connsiteY2" fmla="*/ 298130 h 7876611"/>
              <a:gd name="connsiteX3" fmla="*/ 4863212 w 4865365"/>
              <a:gd name="connsiteY3" fmla="*/ 3642208 h 7876611"/>
              <a:gd name="connsiteX4" fmla="*/ 2748122 w 4865365"/>
              <a:gd name="connsiteY4" fmla="*/ 7185508 h 7876611"/>
              <a:gd name="connsiteX5" fmla="*/ 189227 w 4865365"/>
              <a:gd name="connsiteY5" fmla="*/ 7183318 h 7876611"/>
              <a:gd name="connsiteX0" fmla="*/ 192432 w 4868570"/>
              <a:gd name="connsiteY0" fmla="*/ 7183318 h 7876611"/>
              <a:gd name="connsiteX1" fmla="*/ 190177 w 4868570"/>
              <a:gd name="connsiteY1" fmla="*/ 293188 h 7876611"/>
              <a:gd name="connsiteX2" fmla="*/ 3106692 w 4868570"/>
              <a:gd name="connsiteY2" fmla="*/ 298130 h 7876611"/>
              <a:gd name="connsiteX3" fmla="*/ 4866417 w 4868570"/>
              <a:gd name="connsiteY3" fmla="*/ 3642208 h 7876611"/>
              <a:gd name="connsiteX4" fmla="*/ 2751327 w 4868570"/>
              <a:gd name="connsiteY4" fmla="*/ 7185508 h 7876611"/>
              <a:gd name="connsiteX5" fmla="*/ 192432 w 4868570"/>
              <a:gd name="connsiteY5" fmla="*/ 7183318 h 7876611"/>
              <a:gd name="connsiteX0" fmla="*/ 190287 w 4866425"/>
              <a:gd name="connsiteY0" fmla="*/ 7183318 h 7876611"/>
              <a:gd name="connsiteX1" fmla="*/ 188032 w 4866425"/>
              <a:gd name="connsiteY1" fmla="*/ 293188 h 7876611"/>
              <a:gd name="connsiteX2" fmla="*/ 3104547 w 4866425"/>
              <a:gd name="connsiteY2" fmla="*/ 298130 h 7876611"/>
              <a:gd name="connsiteX3" fmla="*/ 4864272 w 4866425"/>
              <a:gd name="connsiteY3" fmla="*/ 3642208 h 7876611"/>
              <a:gd name="connsiteX4" fmla="*/ 2749182 w 4866425"/>
              <a:gd name="connsiteY4" fmla="*/ 7185508 h 7876611"/>
              <a:gd name="connsiteX5" fmla="*/ 190287 w 4866425"/>
              <a:gd name="connsiteY5" fmla="*/ 7183318 h 7876611"/>
              <a:gd name="connsiteX0" fmla="*/ 190287 w 4866425"/>
              <a:gd name="connsiteY0" fmla="*/ 7154743 h 7859802"/>
              <a:gd name="connsiteX1" fmla="*/ 188032 w 4866425"/>
              <a:gd name="connsiteY1" fmla="*/ 293188 h 7859802"/>
              <a:gd name="connsiteX2" fmla="*/ 3104547 w 4866425"/>
              <a:gd name="connsiteY2" fmla="*/ 298130 h 7859802"/>
              <a:gd name="connsiteX3" fmla="*/ 4864272 w 4866425"/>
              <a:gd name="connsiteY3" fmla="*/ 3642208 h 7859802"/>
              <a:gd name="connsiteX4" fmla="*/ 2749182 w 4866425"/>
              <a:gd name="connsiteY4" fmla="*/ 7185508 h 7859802"/>
              <a:gd name="connsiteX5" fmla="*/ 190287 w 4866425"/>
              <a:gd name="connsiteY5" fmla="*/ 7154743 h 7859802"/>
              <a:gd name="connsiteX0" fmla="*/ 2255 w 4678393"/>
              <a:gd name="connsiteY0" fmla="*/ 7154743 h 7872894"/>
              <a:gd name="connsiteX1" fmla="*/ 0 w 4678393"/>
              <a:gd name="connsiteY1" fmla="*/ 293188 h 7872894"/>
              <a:gd name="connsiteX2" fmla="*/ 2916515 w 4678393"/>
              <a:gd name="connsiteY2" fmla="*/ 298130 h 7872894"/>
              <a:gd name="connsiteX3" fmla="*/ 4676240 w 4678393"/>
              <a:gd name="connsiteY3" fmla="*/ 3642208 h 7872894"/>
              <a:gd name="connsiteX4" fmla="*/ 2561150 w 4678393"/>
              <a:gd name="connsiteY4" fmla="*/ 7185508 h 7872894"/>
              <a:gd name="connsiteX5" fmla="*/ 2255 w 4678393"/>
              <a:gd name="connsiteY5" fmla="*/ 7154743 h 7872894"/>
              <a:gd name="connsiteX0" fmla="*/ 2822 w 4678960"/>
              <a:gd name="connsiteY0" fmla="*/ 7154743 h 7874206"/>
              <a:gd name="connsiteX1" fmla="*/ 567 w 4678960"/>
              <a:gd name="connsiteY1" fmla="*/ 293188 h 7874206"/>
              <a:gd name="connsiteX2" fmla="*/ 2917082 w 4678960"/>
              <a:gd name="connsiteY2" fmla="*/ 298130 h 7874206"/>
              <a:gd name="connsiteX3" fmla="*/ 4676807 w 4678960"/>
              <a:gd name="connsiteY3" fmla="*/ 3642208 h 7874206"/>
              <a:gd name="connsiteX4" fmla="*/ 2561717 w 4678960"/>
              <a:gd name="connsiteY4" fmla="*/ 7185508 h 7874206"/>
              <a:gd name="connsiteX5" fmla="*/ 2822 w 4678960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473936"/>
              <a:gd name="connsiteX1" fmla="*/ 0 w 4678393"/>
              <a:gd name="connsiteY1" fmla="*/ 293188 h 7473936"/>
              <a:gd name="connsiteX2" fmla="*/ 2916515 w 4678393"/>
              <a:gd name="connsiteY2" fmla="*/ 298130 h 7473936"/>
              <a:gd name="connsiteX3" fmla="*/ 4676240 w 4678393"/>
              <a:gd name="connsiteY3" fmla="*/ 3642208 h 7473936"/>
              <a:gd name="connsiteX4" fmla="*/ 2561150 w 4678393"/>
              <a:gd name="connsiteY4" fmla="*/ 7185508 h 7473936"/>
              <a:gd name="connsiteX5" fmla="*/ 2255 w 4678393"/>
              <a:gd name="connsiteY5" fmla="*/ 7154743 h 7473936"/>
              <a:gd name="connsiteX0" fmla="*/ 2255 w 4678393"/>
              <a:gd name="connsiteY0" fmla="*/ 7154743 h 7450206"/>
              <a:gd name="connsiteX1" fmla="*/ 0 w 4678393"/>
              <a:gd name="connsiteY1" fmla="*/ 293188 h 7450206"/>
              <a:gd name="connsiteX2" fmla="*/ 2916515 w 4678393"/>
              <a:gd name="connsiteY2" fmla="*/ 298130 h 7450206"/>
              <a:gd name="connsiteX3" fmla="*/ 4676240 w 4678393"/>
              <a:gd name="connsiteY3" fmla="*/ 3642208 h 7450206"/>
              <a:gd name="connsiteX4" fmla="*/ 2564325 w 4678393"/>
              <a:gd name="connsiteY4" fmla="*/ 7153758 h 7450206"/>
              <a:gd name="connsiteX5" fmla="*/ 2255 w 4678393"/>
              <a:gd name="connsiteY5" fmla="*/ 7154743 h 7450206"/>
              <a:gd name="connsiteX0" fmla="*/ 2255 w 4678393"/>
              <a:gd name="connsiteY0" fmla="*/ 7154743 h 7154743"/>
              <a:gd name="connsiteX1" fmla="*/ 0 w 4678393"/>
              <a:gd name="connsiteY1" fmla="*/ 293188 h 7154743"/>
              <a:gd name="connsiteX2" fmla="*/ 2916515 w 4678393"/>
              <a:gd name="connsiteY2" fmla="*/ 298130 h 7154743"/>
              <a:gd name="connsiteX3" fmla="*/ 4676240 w 4678393"/>
              <a:gd name="connsiteY3" fmla="*/ 3642208 h 7154743"/>
              <a:gd name="connsiteX4" fmla="*/ 2564325 w 4678393"/>
              <a:gd name="connsiteY4" fmla="*/ 7153758 h 7154743"/>
              <a:gd name="connsiteX5" fmla="*/ 2255 w 4678393"/>
              <a:gd name="connsiteY5" fmla="*/ 7154743 h 7154743"/>
              <a:gd name="connsiteX0" fmla="*/ 2255 w 4678393"/>
              <a:gd name="connsiteY0" fmla="*/ 6861555 h 6861555"/>
              <a:gd name="connsiteX1" fmla="*/ 0 w 4678393"/>
              <a:gd name="connsiteY1" fmla="*/ 0 h 6861555"/>
              <a:gd name="connsiteX2" fmla="*/ 2916515 w 4678393"/>
              <a:gd name="connsiteY2" fmla="*/ 4942 h 6861555"/>
              <a:gd name="connsiteX3" fmla="*/ 4676240 w 4678393"/>
              <a:gd name="connsiteY3" fmla="*/ 3349020 h 6861555"/>
              <a:gd name="connsiteX4" fmla="*/ 2564325 w 4678393"/>
              <a:gd name="connsiteY4" fmla="*/ 6860570 h 6861555"/>
              <a:gd name="connsiteX5" fmla="*/ 2255 w 4678393"/>
              <a:gd name="connsiteY5" fmla="*/ 6861555 h 6861555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9009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8377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3061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71578"/>
              <a:gd name="connsiteX1" fmla="*/ 0 w 4678399"/>
              <a:gd name="connsiteY1" fmla="*/ 1408 h 6871578"/>
              <a:gd name="connsiteX2" fmla="*/ 2919690 w 4678399"/>
              <a:gd name="connsiteY2" fmla="*/ 0 h 6871578"/>
              <a:gd name="connsiteX3" fmla="*/ 4676240 w 4678399"/>
              <a:gd name="connsiteY3" fmla="*/ 3350428 h 6871578"/>
              <a:gd name="connsiteX4" fmla="*/ 2521796 w 4678399"/>
              <a:gd name="connsiteY4" fmla="*/ 6871578 h 6871578"/>
              <a:gd name="connsiteX5" fmla="*/ 2255 w 4678399"/>
              <a:gd name="connsiteY5" fmla="*/ 6862963 h 6871578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6240" h="6862963">
                <a:moveTo>
                  <a:pt x="2255" y="6862963"/>
                </a:moveTo>
                <a:cubicBezTo>
                  <a:pt x="847" y="5679318"/>
                  <a:pt x="65" y="1117189"/>
                  <a:pt x="0" y="1408"/>
                </a:cubicBezTo>
                <a:lnTo>
                  <a:pt x="2919690" y="0"/>
                </a:lnTo>
                <a:cubicBezTo>
                  <a:pt x="3347209" y="321191"/>
                  <a:pt x="4644479" y="1245147"/>
                  <a:pt x="4676240" y="3350428"/>
                </a:cubicBezTo>
                <a:cubicBezTo>
                  <a:pt x="4625578" y="5097946"/>
                  <a:pt x="3667890" y="6255680"/>
                  <a:pt x="2516480" y="6860945"/>
                </a:cubicBezTo>
                <a:lnTo>
                  <a:pt x="2255" y="6862963"/>
                </a:lnTo>
                <a:close/>
              </a:path>
            </a:pathLst>
          </a:custGeom>
          <a:ln>
            <a:noFill/>
          </a:ln>
          <a:extLst>
            <a:ext uri="{91240B29-F687-4f45-9708-019B960494DF}"/>
          </a:extLst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8461" y="110949"/>
            <a:ext cx="6882540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28461" y="1533600"/>
            <a:ext cx="688254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928461" y="2174400"/>
            <a:ext cx="688254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52095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091988" y="0"/>
            <a:ext cx="128587" cy="145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520217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2585" y="110949"/>
            <a:ext cx="7138416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72585" y="1533600"/>
            <a:ext cx="713841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72585" y="2174400"/>
            <a:ext cx="7138416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3CA72A1A-CDA5-9A46-A824-8BA40A7BC7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301067" cy="6858000"/>
          </a:xfr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40313593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2722665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091988" y="0"/>
            <a:ext cx="128587" cy="145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166970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81000" y="1601788"/>
            <a:ext cx="11430000" cy="4525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79217525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789884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F9D744F-A08B-5145-BBEA-D42E6BD319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" y="1533600"/>
            <a:ext cx="4430684" cy="44306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10030582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5868DF8-0066-C04C-B523-8450D0A451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533600"/>
            <a:ext cx="560134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D81E9A-BFAC-2649-8EA2-1E71B0607B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2174400"/>
            <a:ext cx="5601346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AB4DA10-386C-0E45-8192-A2D9EB1279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9322" y="1534150"/>
            <a:ext cx="5611678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BA2A10C-A80A-324D-B7BC-4A1C81054B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9322" y="2174950"/>
            <a:ext cx="5611678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61816002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381000" y="1533600"/>
            <a:ext cx="4590288" cy="4593600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94642289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 bwMode="ltGray">
          <a:xfrm>
            <a:off x="0" y="-9254"/>
            <a:ext cx="4672584" cy="6867254"/>
          </a:xfrm>
          <a:custGeom>
            <a:avLst/>
            <a:gdLst>
              <a:gd name="connsiteX0" fmla="*/ 0 w 8001000"/>
              <a:gd name="connsiteY0" fmla="*/ 4000500 h 8001000"/>
              <a:gd name="connsiteX1" fmla="*/ 4000500 w 8001000"/>
              <a:gd name="connsiteY1" fmla="*/ 0 h 8001000"/>
              <a:gd name="connsiteX2" fmla="*/ 8001000 w 8001000"/>
              <a:gd name="connsiteY2" fmla="*/ 4000500 h 8001000"/>
              <a:gd name="connsiteX3" fmla="*/ 4000500 w 8001000"/>
              <a:gd name="connsiteY3" fmla="*/ 8001000 h 8001000"/>
              <a:gd name="connsiteX4" fmla="*/ 0 w 8001000"/>
              <a:gd name="connsiteY4" fmla="*/ 4000500 h 8001000"/>
              <a:gd name="connsiteX0" fmla="*/ 0 w 8060683"/>
              <a:gd name="connsiteY0" fmla="*/ 4222799 h 8223299"/>
              <a:gd name="connsiteX1" fmla="*/ 4000500 w 8060683"/>
              <a:gd name="connsiteY1" fmla="*/ 222299 h 8223299"/>
              <a:gd name="connsiteX2" fmla="*/ 6237602 w 8060683"/>
              <a:gd name="connsiteY2" fmla="*/ 908099 h 8223299"/>
              <a:gd name="connsiteX3" fmla="*/ 8001000 w 8060683"/>
              <a:gd name="connsiteY3" fmla="*/ 4222799 h 8223299"/>
              <a:gd name="connsiteX4" fmla="*/ 4000500 w 8060683"/>
              <a:gd name="connsiteY4" fmla="*/ 8223299 h 8223299"/>
              <a:gd name="connsiteX5" fmla="*/ 0 w 8060683"/>
              <a:gd name="connsiteY5" fmla="*/ 4222799 h 8223299"/>
              <a:gd name="connsiteX0" fmla="*/ 8055 w 8068738"/>
              <a:gd name="connsiteY0" fmla="*/ 3760842 h 7761342"/>
              <a:gd name="connsiteX1" fmla="*/ 3296378 w 8068738"/>
              <a:gd name="connsiteY1" fmla="*/ 472519 h 7761342"/>
              <a:gd name="connsiteX2" fmla="*/ 6245657 w 8068738"/>
              <a:gd name="connsiteY2" fmla="*/ 446142 h 7761342"/>
              <a:gd name="connsiteX3" fmla="*/ 8009055 w 8068738"/>
              <a:gd name="connsiteY3" fmla="*/ 3760842 h 7761342"/>
              <a:gd name="connsiteX4" fmla="*/ 4008555 w 8068738"/>
              <a:gd name="connsiteY4" fmla="*/ 7761342 h 7761342"/>
              <a:gd name="connsiteX5" fmla="*/ 8055 w 8068738"/>
              <a:gd name="connsiteY5" fmla="*/ 3760842 h 7761342"/>
              <a:gd name="connsiteX0" fmla="*/ 6123 w 8066806"/>
              <a:gd name="connsiteY0" fmla="*/ 3768834 h 7769334"/>
              <a:gd name="connsiteX1" fmla="*/ 3373577 w 8066806"/>
              <a:gd name="connsiteY1" fmla="*/ 462926 h 7769334"/>
              <a:gd name="connsiteX2" fmla="*/ 6243725 w 8066806"/>
              <a:gd name="connsiteY2" fmla="*/ 454134 h 7769334"/>
              <a:gd name="connsiteX3" fmla="*/ 8007123 w 8066806"/>
              <a:gd name="connsiteY3" fmla="*/ 3768834 h 7769334"/>
              <a:gd name="connsiteX4" fmla="*/ 4006623 w 8066806"/>
              <a:gd name="connsiteY4" fmla="*/ 7769334 h 7769334"/>
              <a:gd name="connsiteX5" fmla="*/ 6123 w 8066806"/>
              <a:gd name="connsiteY5" fmla="*/ 3768834 h 7769334"/>
              <a:gd name="connsiteX0" fmla="*/ 6939 w 8067622"/>
              <a:gd name="connsiteY0" fmla="*/ 3768834 h 7769334"/>
              <a:gd name="connsiteX1" fmla="*/ 3339224 w 8067622"/>
              <a:gd name="connsiteY1" fmla="*/ 462926 h 7769334"/>
              <a:gd name="connsiteX2" fmla="*/ 6244541 w 8067622"/>
              <a:gd name="connsiteY2" fmla="*/ 454134 h 7769334"/>
              <a:gd name="connsiteX3" fmla="*/ 8007939 w 8067622"/>
              <a:gd name="connsiteY3" fmla="*/ 3768834 h 7769334"/>
              <a:gd name="connsiteX4" fmla="*/ 4007439 w 8067622"/>
              <a:gd name="connsiteY4" fmla="*/ 7769334 h 7769334"/>
              <a:gd name="connsiteX5" fmla="*/ 6939 w 8067622"/>
              <a:gd name="connsiteY5" fmla="*/ 3768834 h 7769334"/>
              <a:gd name="connsiteX0" fmla="*/ 6939 w 8010086"/>
              <a:gd name="connsiteY0" fmla="*/ 3768834 h 7984710"/>
              <a:gd name="connsiteX1" fmla="*/ 3339224 w 8010086"/>
              <a:gd name="connsiteY1" fmla="*/ 462926 h 7984710"/>
              <a:gd name="connsiteX2" fmla="*/ 6244541 w 8010086"/>
              <a:gd name="connsiteY2" fmla="*/ 454134 h 7984710"/>
              <a:gd name="connsiteX3" fmla="*/ 8007939 w 8010086"/>
              <a:gd name="connsiteY3" fmla="*/ 3768834 h 7984710"/>
              <a:gd name="connsiteX4" fmla="*/ 5892849 w 8010086"/>
              <a:gd name="connsiteY4" fmla="*/ 7057157 h 7984710"/>
              <a:gd name="connsiteX5" fmla="*/ 4007439 w 8010086"/>
              <a:gd name="connsiteY5" fmla="*/ 7769334 h 7984710"/>
              <a:gd name="connsiteX6" fmla="*/ 6939 w 8010086"/>
              <a:gd name="connsiteY6" fmla="*/ 3768834 h 7984710"/>
              <a:gd name="connsiteX0" fmla="*/ 6939 w 8010086"/>
              <a:gd name="connsiteY0" fmla="*/ 3768834 h 8061801"/>
              <a:gd name="connsiteX1" fmla="*/ 3339224 w 8010086"/>
              <a:gd name="connsiteY1" fmla="*/ 462926 h 8061801"/>
              <a:gd name="connsiteX2" fmla="*/ 6244541 w 8010086"/>
              <a:gd name="connsiteY2" fmla="*/ 454134 h 8061801"/>
              <a:gd name="connsiteX3" fmla="*/ 8007939 w 8010086"/>
              <a:gd name="connsiteY3" fmla="*/ 3768834 h 8061801"/>
              <a:gd name="connsiteX4" fmla="*/ 5892849 w 8010086"/>
              <a:gd name="connsiteY4" fmla="*/ 7312134 h 8061801"/>
              <a:gd name="connsiteX5" fmla="*/ 4007439 w 8010086"/>
              <a:gd name="connsiteY5" fmla="*/ 7769334 h 8061801"/>
              <a:gd name="connsiteX6" fmla="*/ 6939 w 8010086"/>
              <a:gd name="connsiteY6" fmla="*/ 3768834 h 8061801"/>
              <a:gd name="connsiteX0" fmla="*/ 6 w 8003153"/>
              <a:gd name="connsiteY0" fmla="*/ 3768834 h 7779879"/>
              <a:gd name="connsiteX1" fmla="*/ 3332291 w 8003153"/>
              <a:gd name="connsiteY1" fmla="*/ 462926 h 7779879"/>
              <a:gd name="connsiteX2" fmla="*/ 6237608 w 8003153"/>
              <a:gd name="connsiteY2" fmla="*/ 454134 h 7779879"/>
              <a:gd name="connsiteX3" fmla="*/ 8001006 w 8003153"/>
              <a:gd name="connsiteY3" fmla="*/ 3768834 h 7779879"/>
              <a:gd name="connsiteX4" fmla="*/ 5885916 w 8003153"/>
              <a:gd name="connsiteY4" fmla="*/ 7312134 h 7779879"/>
              <a:gd name="connsiteX5" fmla="*/ 3349875 w 8003153"/>
              <a:gd name="connsiteY5" fmla="*/ 7303342 h 7779879"/>
              <a:gd name="connsiteX6" fmla="*/ 6 w 8003153"/>
              <a:gd name="connsiteY6" fmla="*/ 3768834 h 7779879"/>
              <a:gd name="connsiteX0" fmla="*/ 3 w 8003150"/>
              <a:gd name="connsiteY0" fmla="*/ 3768834 h 7775751"/>
              <a:gd name="connsiteX1" fmla="*/ 3332288 w 8003150"/>
              <a:gd name="connsiteY1" fmla="*/ 462926 h 7775751"/>
              <a:gd name="connsiteX2" fmla="*/ 6237605 w 8003150"/>
              <a:gd name="connsiteY2" fmla="*/ 454134 h 7775751"/>
              <a:gd name="connsiteX3" fmla="*/ 8001003 w 8003150"/>
              <a:gd name="connsiteY3" fmla="*/ 3768834 h 7775751"/>
              <a:gd name="connsiteX4" fmla="*/ 5885913 w 8003150"/>
              <a:gd name="connsiteY4" fmla="*/ 7312134 h 7775751"/>
              <a:gd name="connsiteX5" fmla="*/ 3314702 w 8003150"/>
              <a:gd name="connsiteY5" fmla="*/ 7294550 h 7775751"/>
              <a:gd name="connsiteX6" fmla="*/ 3 w 8003150"/>
              <a:gd name="connsiteY6" fmla="*/ 3768834 h 77757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35777 h 7832403"/>
              <a:gd name="connsiteX1" fmla="*/ 664079 w 5334941"/>
              <a:gd name="connsiteY1" fmla="*/ 304153 h 7832403"/>
              <a:gd name="connsiteX2" fmla="*/ 3569396 w 5334941"/>
              <a:gd name="connsiteY2" fmla="*/ 295361 h 7832403"/>
              <a:gd name="connsiteX3" fmla="*/ 5332794 w 5334941"/>
              <a:gd name="connsiteY3" fmla="*/ 3610061 h 7832403"/>
              <a:gd name="connsiteX4" fmla="*/ 3217704 w 5334941"/>
              <a:gd name="connsiteY4" fmla="*/ 7153361 h 7832403"/>
              <a:gd name="connsiteX5" fmla="*/ 646493 w 5334941"/>
              <a:gd name="connsiteY5" fmla="*/ 7135777 h 7832403"/>
              <a:gd name="connsiteX0" fmla="*/ 182720 w 4871168"/>
              <a:gd name="connsiteY0" fmla="*/ 7135777 h 7832403"/>
              <a:gd name="connsiteX1" fmla="*/ 200306 w 4871168"/>
              <a:gd name="connsiteY1" fmla="*/ 304153 h 7832403"/>
              <a:gd name="connsiteX2" fmla="*/ 3105623 w 4871168"/>
              <a:gd name="connsiteY2" fmla="*/ 295361 h 7832403"/>
              <a:gd name="connsiteX3" fmla="*/ 4869021 w 4871168"/>
              <a:gd name="connsiteY3" fmla="*/ 3610061 h 7832403"/>
              <a:gd name="connsiteX4" fmla="*/ 2753931 w 4871168"/>
              <a:gd name="connsiteY4" fmla="*/ 7153361 h 7832403"/>
              <a:gd name="connsiteX5" fmla="*/ 182720 w 4871168"/>
              <a:gd name="connsiteY5" fmla="*/ 7135777 h 7832403"/>
              <a:gd name="connsiteX0" fmla="*/ 182720 w 4871168"/>
              <a:gd name="connsiteY0" fmla="*/ 7124471 h 7821097"/>
              <a:gd name="connsiteX1" fmla="*/ 200306 w 4871168"/>
              <a:gd name="connsiteY1" fmla="*/ 292847 h 7821097"/>
              <a:gd name="connsiteX2" fmla="*/ 3105623 w 4871168"/>
              <a:gd name="connsiteY2" fmla="*/ 284055 h 7821097"/>
              <a:gd name="connsiteX3" fmla="*/ 4869021 w 4871168"/>
              <a:gd name="connsiteY3" fmla="*/ 3598755 h 7821097"/>
              <a:gd name="connsiteX4" fmla="*/ 2753931 w 4871168"/>
              <a:gd name="connsiteY4" fmla="*/ 7142055 h 7821097"/>
              <a:gd name="connsiteX5" fmla="*/ 182720 w 4871168"/>
              <a:gd name="connsiteY5" fmla="*/ 7124471 h 7821097"/>
              <a:gd name="connsiteX0" fmla="*/ 182720 w 4871168"/>
              <a:gd name="connsiteY0" fmla="*/ 7133321 h 7829947"/>
              <a:gd name="connsiteX1" fmla="*/ 200306 w 4871168"/>
              <a:gd name="connsiteY1" fmla="*/ 301697 h 7829947"/>
              <a:gd name="connsiteX2" fmla="*/ 3105623 w 4871168"/>
              <a:gd name="connsiteY2" fmla="*/ 292905 h 7829947"/>
              <a:gd name="connsiteX3" fmla="*/ 4869021 w 4871168"/>
              <a:gd name="connsiteY3" fmla="*/ 3607605 h 7829947"/>
              <a:gd name="connsiteX4" fmla="*/ 2753931 w 4871168"/>
              <a:gd name="connsiteY4" fmla="*/ 7150905 h 7829947"/>
              <a:gd name="connsiteX5" fmla="*/ 182720 w 4871168"/>
              <a:gd name="connsiteY5" fmla="*/ 7133321 h 7829947"/>
              <a:gd name="connsiteX0" fmla="*/ 186720 w 4875168"/>
              <a:gd name="connsiteY0" fmla="*/ 7137599 h 7835370"/>
              <a:gd name="connsiteX1" fmla="*/ 191837 w 4875168"/>
              <a:gd name="connsiteY1" fmla="*/ 289350 h 7835370"/>
              <a:gd name="connsiteX2" fmla="*/ 3109623 w 4875168"/>
              <a:gd name="connsiteY2" fmla="*/ 297183 h 7835370"/>
              <a:gd name="connsiteX3" fmla="*/ 4873021 w 4875168"/>
              <a:gd name="connsiteY3" fmla="*/ 3611883 h 7835370"/>
              <a:gd name="connsiteX4" fmla="*/ 2757931 w 4875168"/>
              <a:gd name="connsiteY4" fmla="*/ 7155183 h 7835370"/>
              <a:gd name="connsiteX5" fmla="*/ 186720 w 4875168"/>
              <a:gd name="connsiteY5" fmla="*/ 7137599 h 7835370"/>
              <a:gd name="connsiteX0" fmla="*/ 171307 w 4859755"/>
              <a:gd name="connsiteY0" fmla="*/ 7112714 h 7803338"/>
              <a:gd name="connsiteX1" fmla="*/ 226300 w 4859755"/>
              <a:gd name="connsiteY1" fmla="*/ 368374 h 7803338"/>
              <a:gd name="connsiteX2" fmla="*/ 3094210 w 4859755"/>
              <a:gd name="connsiteY2" fmla="*/ 272298 h 7803338"/>
              <a:gd name="connsiteX3" fmla="*/ 4857608 w 4859755"/>
              <a:gd name="connsiteY3" fmla="*/ 3586998 h 7803338"/>
              <a:gd name="connsiteX4" fmla="*/ 2742518 w 4859755"/>
              <a:gd name="connsiteY4" fmla="*/ 7130298 h 7803338"/>
              <a:gd name="connsiteX5" fmla="*/ 171307 w 4859755"/>
              <a:gd name="connsiteY5" fmla="*/ 7112714 h 7803338"/>
              <a:gd name="connsiteX0" fmla="*/ 184041 w 4872489"/>
              <a:gd name="connsiteY0" fmla="*/ 7134379 h 7831291"/>
              <a:gd name="connsiteX1" fmla="*/ 197470 w 4872489"/>
              <a:gd name="connsiteY1" fmla="*/ 298599 h 7831291"/>
              <a:gd name="connsiteX2" fmla="*/ 3106944 w 4872489"/>
              <a:gd name="connsiteY2" fmla="*/ 293963 h 7831291"/>
              <a:gd name="connsiteX3" fmla="*/ 4870342 w 4872489"/>
              <a:gd name="connsiteY3" fmla="*/ 3608663 h 7831291"/>
              <a:gd name="connsiteX4" fmla="*/ 2755252 w 4872489"/>
              <a:gd name="connsiteY4" fmla="*/ 7151963 h 7831291"/>
              <a:gd name="connsiteX5" fmla="*/ 184041 w 4872489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9716 w 4868927"/>
              <a:gd name="connsiteY0" fmla="*/ 7152851 h 7842196"/>
              <a:gd name="connsiteX1" fmla="*/ 193908 w 4868927"/>
              <a:gd name="connsiteY1" fmla="*/ 298599 h 7842196"/>
              <a:gd name="connsiteX2" fmla="*/ 3103382 w 4868927"/>
              <a:gd name="connsiteY2" fmla="*/ 293963 h 7842196"/>
              <a:gd name="connsiteX3" fmla="*/ 4866780 w 4868927"/>
              <a:gd name="connsiteY3" fmla="*/ 3608663 h 7842196"/>
              <a:gd name="connsiteX4" fmla="*/ 2751690 w 4868927"/>
              <a:gd name="connsiteY4" fmla="*/ 7151963 h 7842196"/>
              <a:gd name="connsiteX5" fmla="*/ 189716 w 4868927"/>
              <a:gd name="connsiteY5" fmla="*/ 7152851 h 7842196"/>
              <a:gd name="connsiteX0" fmla="*/ 2 w 4679213"/>
              <a:gd name="connsiteY0" fmla="*/ 7152851 h 7447842"/>
              <a:gd name="connsiteX1" fmla="*/ 4194 w 4679213"/>
              <a:gd name="connsiteY1" fmla="*/ 298599 h 7447842"/>
              <a:gd name="connsiteX2" fmla="*/ 2913668 w 4679213"/>
              <a:gd name="connsiteY2" fmla="*/ 293963 h 7447842"/>
              <a:gd name="connsiteX3" fmla="*/ 4677066 w 4679213"/>
              <a:gd name="connsiteY3" fmla="*/ 3608663 h 7447842"/>
              <a:gd name="connsiteX4" fmla="*/ 2561976 w 4679213"/>
              <a:gd name="connsiteY4" fmla="*/ 7151963 h 7447842"/>
              <a:gd name="connsiteX5" fmla="*/ 2 w 4679213"/>
              <a:gd name="connsiteY5" fmla="*/ 7152851 h 7447842"/>
              <a:gd name="connsiteX0" fmla="*/ 232986 w 4675130"/>
              <a:gd name="connsiteY0" fmla="*/ 7082039 h 7430577"/>
              <a:gd name="connsiteX1" fmla="*/ 111 w 4675130"/>
              <a:gd name="connsiteY1" fmla="*/ 298599 h 7430577"/>
              <a:gd name="connsiteX2" fmla="*/ 2909585 w 4675130"/>
              <a:gd name="connsiteY2" fmla="*/ 293963 h 7430577"/>
              <a:gd name="connsiteX3" fmla="*/ 4672983 w 4675130"/>
              <a:gd name="connsiteY3" fmla="*/ 3608663 h 7430577"/>
              <a:gd name="connsiteX4" fmla="*/ 2557893 w 4675130"/>
              <a:gd name="connsiteY4" fmla="*/ 7151963 h 7430577"/>
              <a:gd name="connsiteX5" fmla="*/ 232986 w 4675130"/>
              <a:gd name="connsiteY5" fmla="*/ 7082039 h 7430577"/>
              <a:gd name="connsiteX0" fmla="*/ 1481 w 4677613"/>
              <a:gd name="connsiteY0" fmla="*/ 7149773 h 7447048"/>
              <a:gd name="connsiteX1" fmla="*/ 2594 w 4677613"/>
              <a:gd name="connsiteY1" fmla="*/ 298599 h 7447048"/>
              <a:gd name="connsiteX2" fmla="*/ 2912068 w 4677613"/>
              <a:gd name="connsiteY2" fmla="*/ 293963 h 7447048"/>
              <a:gd name="connsiteX3" fmla="*/ 4675466 w 4677613"/>
              <a:gd name="connsiteY3" fmla="*/ 3608663 h 7447048"/>
              <a:gd name="connsiteX4" fmla="*/ 2560376 w 4677613"/>
              <a:gd name="connsiteY4" fmla="*/ 7151963 h 7447048"/>
              <a:gd name="connsiteX5" fmla="*/ 1481 w 4677613"/>
              <a:gd name="connsiteY5" fmla="*/ 7149773 h 7447048"/>
              <a:gd name="connsiteX0" fmla="*/ 165734 w 4841866"/>
              <a:gd name="connsiteY0" fmla="*/ 7139154 h 7826771"/>
              <a:gd name="connsiteX1" fmla="*/ 246896 w 4841866"/>
              <a:gd name="connsiteY1" fmla="*/ 331083 h 7826771"/>
              <a:gd name="connsiteX2" fmla="*/ 3076321 w 4841866"/>
              <a:gd name="connsiteY2" fmla="*/ 283344 h 7826771"/>
              <a:gd name="connsiteX3" fmla="*/ 4839719 w 4841866"/>
              <a:gd name="connsiteY3" fmla="*/ 3598044 h 7826771"/>
              <a:gd name="connsiteX4" fmla="*/ 2724629 w 4841866"/>
              <a:gd name="connsiteY4" fmla="*/ 7141344 h 7826771"/>
              <a:gd name="connsiteX5" fmla="*/ 165734 w 4841866"/>
              <a:gd name="connsiteY5" fmla="*/ 7139154 h 7826771"/>
              <a:gd name="connsiteX0" fmla="*/ 192597 w 4868729"/>
              <a:gd name="connsiteY0" fmla="*/ 7111990 h 7790893"/>
              <a:gd name="connsiteX1" fmla="*/ 187553 w 4868729"/>
              <a:gd name="connsiteY1" fmla="*/ 430149 h 7790893"/>
              <a:gd name="connsiteX2" fmla="*/ 3103184 w 4868729"/>
              <a:gd name="connsiteY2" fmla="*/ 256180 h 7790893"/>
              <a:gd name="connsiteX3" fmla="*/ 4866582 w 4868729"/>
              <a:gd name="connsiteY3" fmla="*/ 3570880 h 7790893"/>
              <a:gd name="connsiteX4" fmla="*/ 2751492 w 4868729"/>
              <a:gd name="connsiteY4" fmla="*/ 7114180 h 7790893"/>
              <a:gd name="connsiteX5" fmla="*/ 192597 w 4868729"/>
              <a:gd name="connsiteY5" fmla="*/ 7111990 h 7790893"/>
              <a:gd name="connsiteX0" fmla="*/ 135176 w 4811308"/>
              <a:gd name="connsiteY0" fmla="*/ 7105556 h 7782125"/>
              <a:gd name="connsiteX1" fmla="*/ 336411 w 4811308"/>
              <a:gd name="connsiteY1" fmla="*/ 457582 h 7782125"/>
              <a:gd name="connsiteX2" fmla="*/ 3045763 w 4811308"/>
              <a:gd name="connsiteY2" fmla="*/ 249746 h 7782125"/>
              <a:gd name="connsiteX3" fmla="*/ 4809161 w 4811308"/>
              <a:gd name="connsiteY3" fmla="*/ 3564446 h 7782125"/>
              <a:gd name="connsiteX4" fmla="*/ 2694071 w 4811308"/>
              <a:gd name="connsiteY4" fmla="*/ 7107746 h 7782125"/>
              <a:gd name="connsiteX5" fmla="*/ 135176 w 4811308"/>
              <a:gd name="connsiteY5" fmla="*/ 7105556 h 7782125"/>
              <a:gd name="connsiteX0" fmla="*/ 157213 w 4833345"/>
              <a:gd name="connsiteY0" fmla="*/ 7115639 h 7795816"/>
              <a:gd name="connsiteX1" fmla="*/ 269163 w 4833345"/>
              <a:gd name="connsiteY1" fmla="*/ 415325 h 7795816"/>
              <a:gd name="connsiteX2" fmla="*/ 3067800 w 4833345"/>
              <a:gd name="connsiteY2" fmla="*/ 259829 h 7795816"/>
              <a:gd name="connsiteX3" fmla="*/ 4831198 w 4833345"/>
              <a:gd name="connsiteY3" fmla="*/ 3574529 h 7795816"/>
              <a:gd name="connsiteX4" fmla="*/ 2716108 w 4833345"/>
              <a:gd name="connsiteY4" fmla="*/ 7117829 h 7795816"/>
              <a:gd name="connsiteX5" fmla="*/ 157213 w 4833345"/>
              <a:gd name="connsiteY5" fmla="*/ 7115639 h 7795816"/>
              <a:gd name="connsiteX0" fmla="*/ 156353 w 4832485"/>
              <a:gd name="connsiteY0" fmla="*/ 7115639 h 7795816"/>
              <a:gd name="connsiteX1" fmla="*/ 268303 w 4832485"/>
              <a:gd name="connsiteY1" fmla="*/ 415325 h 7795816"/>
              <a:gd name="connsiteX2" fmla="*/ 3066940 w 4832485"/>
              <a:gd name="connsiteY2" fmla="*/ 259829 h 7795816"/>
              <a:gd name="connsiteX3" fmla="*/ 4830338 w 4832485"/>
              <a:gd name="connsiteY3" fmla="*/ 3574529 h 7795816"/>
              <a:gd name="connsiteX4" fmla="*/ 2715248 w 4832485"/>
              <a:gd name="connsiteY4" fmla="*/ 7117829 h 7795816"/>
              <a:gd name="connsiteX5" fmla="*/ 156353 w 4832485"/>
              <a:gd name="connsiteY5" fmla="*/ 7115639 h 7795816"/>
              <a:gd name="connsiteX0" fmla="*/ 162218 w 4838350"/>
              <a:gd name="connsiteY0" fmla="*/ 7153758 h 7845421"/>
              <a:gd name="connsiteX1" fmla="*/ 252617 w 4838350"/>
              <a:gd name="connsiteY1" fmla="*/ 287189 h 7845421"/>
              <a:gd name="connsiteX2" fmla="*/ 3072805 w 4838350"/>
              <a:gd name="connsiteY2" fmla="*/ 297948 h 7845421"/>
              <a:gd name="connsiteX3" fmla="*/ 4836203 w 4838350"/>
              <a:gd name="connsiteY3" fmla="*/ 3612648 h 7845421"/>
              <a:gd name="connsiteX4" fmla="*/ 2721113 w 4838350"/>
              <a:gd name="connsiteY4" fmla="*/ 7155948 h 7845421"/>
              <a:gd name="connsiteX5" fmla="*/ 162218 w 4838350"/>
              <a:gd name="connsiteY5" fmla="*/ 7153758 h 7845421"/>
              <a:gd name="connsiteX0" fmla="*/ 162218 w 4838350"/>
              <a:gd name="connsiteY0" fmla="*/ 7127231 h 7811232"/>
              <a:gd name="connsiteX1" fmla="*/ 252617 w 4838350"/>
              <a:gd name="connsiteY1" fmla="*/ 371498 h 7811232"/>
              <a:gd name="connsiteX2" fmla="*/ 3072805 w 4838350"/>
              <a:gd name="connsiteY2" fmla="*/ 271421 h 7811232"/>
              <a:gd name="connsiteX3" fmla="*/ 4836203 w 4838350"/>
              <a:gd name="connsiteY3" fmla="*/ 3586121 h 7811232"/>
              <a:gd name="connsiteX4" fmla="*/ 2721113 w 4838350"/>
              <a:gd name="connsiteY4" fmla="*/ 7129421 h 7811232"/>
              <a:gd name="connsiteX5" fmla="*/ 162218 w 4838350"/>
              <a:gd name="connsiteY5" fmla="*/ 7127231 h 7811232"/>
              <a:gd name="connsiteX0" fmla="*/ 169100 w 4845232"/>
              <a:gd name="connsiteY0" fmla="*/ 7127237 h 7811238"/>
              <a:gd name="connsiteX1" fmla="*/ 259499 w 4845232"/>
              <a:gd name="connsiteY1" fmla="*/ 371504 h 7811238"/>
              <a:gd name="connsiteX2" fmla="*/ 3079687 w 4845232"/>
              <a:gd name="connsiteY2" fmla="*/ 271427 h 7811238"/>
              <a:gd name="connsiteX3" fmla="*/ 4843085 w 4845232"/>
              <a:gd name="connsiteY3" fmla="*/ 3586127 h 7811238"/>
              <a:gd name="connsiteX4" fmla="*/ 2727995 w 4845232"/>
              <a:gd name="connsiteY4" fmla="*/ 7129427 h 7811238"/>
              <a:gd name="connsiteX5" fmla="*/ 169100 w 4845232"/>
              <a:gd name="connsiteY5" fmla="*/ 7127237 h 7811238"/>
              <a:gd name="connsiteX0" fmla="*/ 219843 w 4895975"/>
              <a:gd name="connsiteY0" fmla="*/ 7118137 h 7799163"/>
              <a:gd name="connsiteX1" fmla="*/ 162460 w 4895975"/>
              <a:gd name="connsiteY1" fmla="*/ 405507 h 7799163"/>
              <a:gd name="connsiteX2" fmla="*/ 3130430 w 4895975"/>
              <a:gd name="connsiteY2" fmla="*/ 262327 h 7799163"/>
              <a:gd name="connsiteX3" fmla="*/ 4893828 w 4895975"/>
              <a:gd name="connsiteY3" fmla="*/ 3577027 h 7799163"/>
              <a:gd name="connsiteX4" fmla="*/ 2778738 w 4895975"/>
              <a:gd name="connsiteY4" fmla="*/ 7120327 h 7799163"/>
              <a:gd name="connsiteX5" fmla="*/ 219843 w 4895975"/>
              <a:gd name="connsiteY5" fmla="*/ 7118137 h 7799163"/>
              <a:gd name="connsiteX0" fmla="*/ 202277 w 4878409"/>
              <a:gd name="connsiteY0" fmla="*/ 7113808 h 7793348"/>
              <a:gd name="connsiteX1" fmla="*/ 191076 w 4878409"/>
              <a:gd name="connsiteY1" fmla="*/ 422730 h 7793348"/>
              <a:gd name="connsiteX2" fmla="*/ 3112864 w 4878409"/>
              <a:gd name="connsiteY2" fmla="*/ 257998 h 7793348"/>
              <a:gd name="connsiteX3" fmla="*/ 4876262 w 4878409"/>
              <a:gd name="connsiteY3" fmla="*/ 3572698 h 7793348"/>
              <a:gd name="connsiteX4" fmla="*/ 2761172 w 4878409"/>
              <a:gd name="connsiteY4" fmla="*/ 7115998 h 7793348"/>
              <a:gd name="connsiteX5" fmla="*/ 202277 w 4878409"/>
              <a:gd name="connsiteY5" fmla="*/ 7113808 h 7793348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85583 w 4761715"/>
              <a:gd name="connsiteY0" fmla="*/ 7107672 h 7785019"/>
              <a:gd name="connsiteX1" fmla="*/ 82333 w 4761715"/>
              <a:gd name="connsiteY1" fmla="*/ 448399 h 7785019"/>
              <a:gd name="connsiteX2" fmla="*/ 2996170 w 4761715"/>
              <a:gd name="connsiteY2" fmla="*/ 251862 h 7785019"/>
              <a:gd name="connsiteX3" fmla="*/ 4759568 w 4761715"/>
              <a:gd name="connsiteY3" fmla="*/ 3566562 h 7785019"/>
              <a:gd name="connsiteX4" fmla="*/ 2644478 w 4761715"/>
              <a:gd name="connsiteY4" fmla="*/ 7109862 h 7785019"/>
              <a:gd name="connsiteX5" fmla="*/ 85583 w 4761715"/>
              <a:gd name="connsiteY5" fmla="*/ 7107672 h 7785019"/>
              <a:gd name="connsiteX0" fmla="*/ 85583 w 4761715"/>
              <a:gd name="connsiteY0" fmla="*/ 7074631 h 7751978"/>
              <a:gd name="connsiteX1" fmla="*/ 82333 w 4761715"/>
              <a:gd name="connsiteY1" fmla="*/ 415358 h 7751978"/>
              <a:gd name="connsiteX2" fmla="*/ 2996170 w 4761715"/>
              <a:gd name="connsiteY2" fmla="*/ 218821 h 7751978"/>
              <a:gd name="connsiteX3" fmla="*/ 4759568 w 4761715"/>
              <a:gd name="connsiteY3" fmla="*/ 3533521 h 7751978"/>
              <a:gd name="connsiteX4" fmla="*/ 2644478 w 4761715"/>
              <a:gd name="connsiteY4" fmla="*/ 7076821 h 7751978"/>
              <a:gd name="connsiteX5" fmla="*/ 85583 w 4761715"/>
              <a:gd name="connsiteY5" fmla="*/ 7074631 h 7751978"/>
              <a:gd name="connsiteX0" fmla="*/ 157610 w 4833742"/>
              <a:gd name="connsiteY0" fmla="*/ 7074631 h 7751978"/>
              <a:gd name="connsiteX1" fmla="*/ 154360 w 4833742"/>
              <a:gd name="connsiteY1" fmla="*/ 415358 h 7751978"/>
              <a:gd name="connsiteX2" fmla="*/ 3068197 w 4833742"/>
              <a:gd name="connsiteY2" fmla="*/ 218821 h 7751978"/>
              <a:gd name="connsiteX3" fmla="*/ 4831595 w 4833742"/>
              <a:gd name="connsiteY3" fmla="*/ 3533521 h 7751978"/>
              <a:gd name="connsiteX4" fmla="*/ 2716505 w 4833742"/>
              <a:gd name="connsiteY4" fmla="*/ 7076821 h 7751978"/>
              <a:gd name="connsiteX5" fmla="*/ 157610 w 4833742"/>
              <a:gd name="connsiteY5" fmla="*/ 7074631 h 7751978"/>
              <a:gd name="connsiteX0" fmla="*/ 345911 w 5022043"/>
              <a:gd name="connsiteY0" fmla="*/ 7098958 h 7776305"/>
              <a:gd name="connsiteX1" fmla="*/ 342661 w 5022043"/>
              <a:gd name="connsiteY1" fmla="*/ 439685 h 7776305"/>
              <a:gd name="connsiteX2" fmla="*/ 3256498 w 5022043"/>
              <a:gd name="connsiteY2" fmla="*/ 243148 h 7776305"/>
              <a:gd name="connsiteX3" fmla="*/ 5019896 w 5022043"/>
              <a:gd name="connsiteY3" fmla="*/ 3557848 h 7776305"/>
              <a:gd name="connsiteX4" fmla="*/ 2904806 w 5022043"/>
              <a:gd name="connsiteY4" fmla="*/ 7101148 h 7776305"/>
              <a:gd name="connsiteX5" fmla="*/ 345911 w 5022043"/>
              <a:gd name="connsiteY5" fmla="*/ 7098958 h 7776305"/>
              <a:gd name="connsiteX0" fmla="*/ 190117 w 4866249"/>
              <a:gd name="connsiteY0" fmla="*/ 7193225 h 7870572"/>
              <a:gd name="connsiteX1" fmla="*/ 186867 w 4866249"/>
              <a:gd name="connsiteY1" fmla="*/ 533952 h 7870572"/>
              <a:gd name="connsiteX2" fmla="*/ 3100704 w 4866249"/>
              <a:gd name="connsiteY2" fmla="*/ 337415 h 7870572"/>
              <a:gd name="connsiteX3" fmla="*/ 4864102 w 4866249"/>
              <a:gd name="connsiteY3" fmla="*/ 3652115 h 7870572"/>
              <a:gd name="connsiteX4" fmla="*/ 2749012 w 4866249"/>
              <a:gd name="connsiteY4" fmla="*/ 7195415 h 7870572"/>
              <a:gd name="connsiteX5" fmla="*/ 190117 w 4866249"/>
              <a:gd name="connsiteY5" fmla="*/ 7193225 h 7870572"/>
              <a:gd name="connsiteX0" fmla="*/ 188894 w 4865026"/>
              <a:gd name="connsiteY0" fmla="*/ 7274677 h 7967496"/>
              <a:gd name="connsiteX1" fmla="*/ 189317 w 4865026"/>
              <a:gd name="connsiteY1" fmla="*/ 391394 h 7967496"/>
              <a:gd name="connsiteX2" fmla="*/ 3099481 w 4865026"/>
              <a:gd name="connsiteY2" fmla="*/ 418867 h 7967496"/>
              <a:gd name="connsiteX3" fmla="*/ 4862879 w 4865026"/>
              <a:gd name="connsiteY3" fmla="*/ 3733567 h 7967496"/>
              <a:gd name="connsiteX4" fmla="*/ 2747789 w 4865026"/>
              <a:gd name="connsiteY4" fmla="*/ 7276867 h 7967496"/>
              <a:gd name="connsiteX5" fmla="*/ 188894 w 4865026"/>
              <a:gd name="connsiteY5" fmla="*/ 7274677 h 7967496"/>
              <a:gd name="connsiteX0" fmla="*/ 192591 w 4868723"/>
              <a:gd name="connsiteY0" fmla="*/ 7277850 h 7971178"/>
              <a:gd name="connsiteX1" fmla="*/ 181997 w 4868723"/>
              <a:gd name="connsiteY1" fmla="*/ 387222 h 7971178"/>
              <a:gd name="connsiteX2" fmla="*/ 3103178 w 4868723"/>
              <a:gd name="connsiteY2" fmla="*/ 422040 h 7971178"/>
              <a:gd name="connsiteX3" fmla="*/ 4866576 w 4868723"/>
              <a:gd name="connsiteY3" fmla="*/ 3736740 h 7971178"/>
              <a:gd name="connsiteX4" fmla="*/ 2751486 w 4868723"/>
              <a:gd name="connsiteY4" fmla="*/ 7280040 h 7971178"/>
              <a:gd name="connsiteX5" fmla="*/ 192591 w 4868723"/>
              <a:gd name="connsiteY5" fmla="*/ 7277850 h 7971178"/>
              <a:gd name="connsiteX0" fmla="*/ 193427 w 4869559"/>
              <a:gd name="connsiteY0" fmla="*/ 7163116 h 7856444"/>
              <a:gd name="connsiteX1" fmla="*/ 182833 w 4869559"/>
              <a:gd name="connsiteY1" fmla="*/ 272488 h 7856444"/>
              <a:gd name="connsiteX2" fmla="*/ 3104014 w 4869559"/>
              <a:gd name="connsiteY2" fmla="*/ 307306 h 7856444"/>
              <a:gd name="connsiteX3" fmla="*/ 4867412 w 4869559"/>
              <a:gd name="connsiteY3" fmla="*/ 3622006 h 7856444"/>
              <a:gd name="connsiteX4" fmla="*/ 2752322 w 4869559"/>
              <a:gd name="connsiteY4" fmla="*/ 7165306 h 7856444"/>
              <a:gd name="connsiteX5" fmla="*/ 193427 w 4869559"/>
              <a:gd name="connsiteY5" fmla="*/ 7163116 h 7856444"/>
              <a:gd name="connsiteX0" fmla="*/ 170155 w 4846287"/>
              <a:gd name="connsiteY0" fmla="*/ 7143047 h 7831040"/>
              <a:gd name="connsiteX1" fmla="*/ 233007 w 4846287"/>
              <a:gd name="connsiteY1" fmla="*/ 329537 h 7831040"/>
              <a:gd name="connsiteX2" fmla="*/ 3080742 w 4846287"/>
              <a:gd name="connsiteY2" fmla="*/ 287237 h 7831040"/>
              <a:gd name="connsiteX3" fmla="*/ 4844140 w 4846287"/>
              <a:gd name="connsiteY3" fmla="*/ 3601937 h 7831040"/>
              <a:gd name="connsiteX4" fmla="*/ 2729050 w 4846287"/>
              <a:gd name="connsiteY4" fmla="*/ 7145237 h 7831040"/>
              <a:gd name="connsiteX5" fmla="*/ 170155 w 4846287"/>
              <a:gd name="connsiteY5" fmla="*/ 7143047 h 7831040"/>
              <a:gd name="connsiteX0" fmla="*/ 188486 w 4864618"/>
              <a:gd name="connsiteY0" fmla="*/ 7162098 h 7855172"/>
              <a:gd name="connsiteX1" fmla="*/ 192581 w 4864618"/>
              <a:gd name="connsiteY1" fmla="*/ 275143 h 7855172"/>
              <a:gd name="connsiteX2" fmla="*/ 3099073 w 4864618"/>
              <a:gd name="connsiteY2" fmla="*/ 306288 h 7855172"/>
              <a:gd name="connsiteX3" fmla="*/ 4862471 w 4864618"/>
              <a:gd name="connsiteY3" fmla="*/ 3620988 h 7855172"/>
              <a:gd name="connsiteX4" fmla="*/ 2747381 w 4864618"/>
              <a:gd name="connsiteY4" fmla="*/ 7164288 h 7855172"/>
              <a:gd name="connsiteX5" fmla="*/ 188486 w 4864618"/>
              <a:gd name="connsiteY5" fmla="*/ 7162098 h 785517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181559 h 7874633"/>
              <a:gd name="connsiteX1" fmla="*/ 344138 w 5016181"/>
              <a:gd name="connsiteY1" fmla="*/ 294604 h 7874633"/>
              <a:gd name="connsiteX2" fmla="*/ 3254303 w 5016181"/>
              <a:gd name="connsiteY2" fmla="*/ 296371 h 7874633"/>
              <a:gd name="connsiteX3" fmla="*/ 5014028 w 5016181"/>
              <a:gd name="connsiteY3" fmla="*/ 3640449 h 7874633"/>
              <a:gd name="connsiteX4" fmla="*/ 2898938 w 5016181"/>
              <a:gd name="connsiteY4" fmla="*/ 7183749 h 7874633"/>
              <a:gd name="connsiteX5" fmla="*/ 340043 w 5016181"/>
              <a:gd name="connsiteY5" fmla="*/ 7181559 h 7874633"/>
              <a:gd name="connsiteX0" fmla="*/ 340043 w 5016181"/>
              <a:gd name="connsiteY0" fmla="*/ 7183197 h 7876271"/>
              <a:gd name="connsiteX1" fmla="*/ 344138 w 5016181"/>
              <a:gd name="connsiteY1" fmla="*/ 296242 h 7876271"/>
              <a:gd name="connsiteX2" fmla="*/ 3254303 w 5016181"/>
              <a:gd name="connsiteY2" fmla="*/ 298009 h 7876271"/>
              <a:gd name="connsiteX3" fmla="*/ 5014028 w 5016181"/>
              <a:gd name="connsiteY3" fmla="*/ 3642087 h 7876271"/>
              <a:gd name="connsiteX4" fmla="*/ 2898938 w 5016181"/>
              <a:gd name="connsiteY4" fmla="*/ 7185387 h 7876271"/>
              <a:gd name="connsiteX5" fmla="*/ 340043 w 5016181"/>
              <a:gd name="connsiteY5" fmla="*/ 7183197 h 7876271"/>
              <a:gd name="connsiteX0" fmla="*/ 340043 w 5016181"/>
              <a:gd name="connsiteY0" fmla="*/ 7184031 h 7877324"/>
              <a:gd name="connsiteX1" fmla="*/ 344138 w 5016181"/>
              <a:gd name="connsiteY1" fmla="*/ 293901 h 7877324"/>
              <a:gd name="connsiteX2" fmla="*/ 3254303 w 5016181"/>
              <a:gd name="connsiteY2" fmla="*/ 298843 h 7877324"/>
              <a:gd name="connsiteX3" fmla="*/ 5014028 w 5016181"/>
              <a:gd name="connsiteY3" fmla="*/ 3642921 h 7877324"/>
              <a:gd name="connsiteX4" fmla="*/ 2898938 w 5016181"/>
              <a:gd name="connsiteY4" fmla="*/ 7186221 h 7877324"/>
              <a:gd name="connsiteX5" fmla="*/ 340043 w 5016181"/>
              <a:gd name="connsiteY5" fmla="*/ 7184031 h 7877324"/>
              <a:gd name="connsiteX0" fmla="*/ 338200 w 5014338"/>
              <a:gd name="connsiteY0" fmla="*/ 7184031 h 7877324"/>
              <a:gd name="connsiteX1" fmla="*/ 345470 w 5014338"/>
              <a:gd name="connsiteY1" fmla="*/ 293901 h 7877324"/>
              <a:gd name="connsiteX2" fmla="*/ 3252460 w 5014338"/>
              <a:gd name="connsiteY2" fmla="*/ 298843 h 7877324"/>
              <a:gd name="connsiteX3" fmla="*/ 5012185 w 5014338"/>
              <a:gd name="connsiteY3" fmla="*/ 3642921 h 7877324"/>
              <a:gd name="connsiteX4" fmla="*/ 2897095 w 5014338"/>
              <a:gd name="connsiteY4" fmla="*/ 7186221 h 7877324"/>
              <a:gd name="connsiteX5" fmla="*/ 338200 w 5014338"/>
              <a:gd name="connsiteY5" fmla="*/ 7184031 h 7877324"/>
              <a:gd name="connsiteX0" fmla="*/ 338200 w 5014338"/>
              <a:gd name="connsiteY0" fmla="*/ 7183318 h 7876611"/>
              <a:gd name="connsiteX1" fmla="*/ 345470 w 5014338"/>
              <a:gd name="connsiteY1" fmla="*/ 293188 h 7876611"/>
              <a:gd name="connsiteX2" fmla="*/ 3252460 w 5014338"/>
              <a:gd name="connsiteY2" fmla="*/ 298130 h 7876611"/>
              <a:gd name="connsiteX3" fmla="*/ 5012185 w 5014338"/>
              <a:gd name="connsiteY3" fmla="*/ 3642208 h 7876611"/>
              <a:gd name="connsiteX4" fmla="*/ 2897095 w 5014338"/>
              <a:gd name="connsiteY4" fmla="*/ 7185508 h 7876611"/>
              <a:gd name="connsiteX5" fmla="*/ 338200 w 5014338"/>
              <a:gd name="connsiteY5" fmla="*/ 7183318 h 7876611"/>
              <a:gd name="connsiteX0" fmla="*/ 189227 w 4865365"/>
              <a:gd name="connsiteY0" fmla="*/ 7183318 h 7876611"/>
              <a:gd name="connsiteX1" fmla="*/ 196497 w 4865365"/>
              <a:gd name="connsiteY1" fmla="*/ 293188 h 7876611"/>
              <a:gd name="connsiteX2" fmla="*/ 3103487 w 4865365"/>
              <a:gd name="connsiteY2" fmla="*/ 298130 h 7876611"/>
              <a:gd name="connsiteX3" fmla="*/ 4863212 w 4865365"/>
              <a:gd name="connsiteY3" fmla="*/ 3642208 h 7876611"/>
              <a:gd name="connsiteX4" fmla="*/ 2748122 w 4865365"/>
              <a:gd name="connsiteY4" fmla="*/ 7185508 h 7876611"/>
              <a:gd name="connsiteX5" fmla="*/ 189227 w 4865365"/>
              <a:gd name="connsiteY5" fmla="*/ 7183318 h 7876611"/>
              <a:gd name="connsiteX0" fmla="*/ 192432 w 4868570"/>
              <a:gd name="connsiteY0" fmla="*/ 7183318 h 7876611"/>
              <a:gd name="connsiteX1" fmla="*/ 190177 w 4868570"/>
              <a:gd name="connsiteY1" fmla="*/ 293188 h 7876611"/>
              <a:gd name="connsiteX2" fmla="*/ 3106692 w 4868570"/>
              <a:gd name="connsiteY2" fmla="*/ 298130 h 7876611"/>
              <a:gd name="connsiteX3" fmla="*/ 4866417 w 4868570"/>
              <a:gd name="connsiteY3" fmla="*/ 3642208 h 7876611"/>
              <a:gd name="connsiteX4" fmla="*/ 2751327 w 4868570"/>
              <a:gd name="connsiteY4" fmla="*/ 7185508 h 7876611"/>
              <a:gd name="connsiteX5" fmla="*/ 192432 w 4868570"/>
              <a:gd name="connsiteY5" fmla="*/ 7183318 h 7876611"/>
              <a:gd name="connsiteX0" fmla="*/ 190287 w 4866425"/>
              <a:gd name="connsiteY0" fmla="*/ 7183318 h 7876611"/>
              <a:gd name="connsiteX1" fmla="*/ 188032 w 4866425"/>
              <a:gd name="connsiteY1" fmla="*/ 293188 h 7876611"/>
              <a:gd name="connsiteX2" fmla="*/ 3104547 w 4866425"/>
              <a:gd name="connsiteY2" fmla="*/ 298130 h 7876611"/>
              <a:gd name="connsiteX3" fmla="*/ 4864272 w 4866425"/>
              <a:gd name="connsiteY3" fmla="*/ 3642208 h 7876611"/>
              <a:gd name="connsiteX4" fmla="*/ 2749182 w 4866425"/>
              <a:gd name="connsiteY4" fmla="*/ 7185508 h 7876611"/>
              <a:gd name="connsiteX5" fmla="*/ 190287 w 4866425"/>
              <a:gd name="connsiteY5" fmla="*/ 7183318 h 7876611"/>
              <a:gd name="connsiteX0" fmla="*/ 190287 w 4866425"/>
              <a:gd name="connsiteY0" fmla="*/ 7154743 h 7859802"/>
              <a:gd name="connsiteX1" fmla="*/ 188032 w 4866425"/>
              <a:gd name="connsiteY1" fmla="*/ 293188 h 7859802"/>
              <a:gd name="connsiteX2" fmla="*/ 3104547 w 4866425"/>
              <a:gd name="connsiteY2" fmla="*/ 298130 h 7859802"/>
              <a:gd name="connsiteX3" fmla="*/ 4864272 w 4866425"/>
              <a:gd name="connsiteY3" fmla="*/ 3642208 h 7859802"/>
              <a:gd name="connsiteX4" fmla="*/ 2749182 w 4866425"/>
              <a:gd name="connsiteY4" fmla="*/ 7185508 h 7859802"/>
              <a:gd name="connsiteX5" fmla="*/ 190287 w 4866425"/>
              <a:gd name="connsiteY5" fmla="*/ 7154743 h 7859802"/>
              <a:gd name="connsiteX0" fmla="*/ 2255 w 4678393"/>
              <a:gd name="connsiteY0" fmla="*/ 7154743 h 7872894"/>
              <a:gd name="connsiteX1" fmla="*/ 0 w 4678393"/>
              <a:gd name="connsiteY1" fmla="*/ 293188 h 7872894"/>
              <a:gd name="connsiteX2" fmla="*/ 2916515 w 4678393"/>
              <a:gd name="connsiteY2" fmla="*/ 298130 h 7872894"/>
              <a:gd name="connsiteX3" fmla="*/ 4676240 w 4678393"/>
              <a:gd name="connsiteY3" fmla="*/ 3642208 h 7872894"/>
              <a:gd name="connsiteX4" fmla="*/ 2561150 w 4678393"/>
              <a:gd name="connsiteY4" fmla="*/ 7185508 h 7872894"/>
              <a:gd name="connsiteX5" fmla="*/ 2255 w 4678393"/>
              <a:gd name="connsiteY5" fmla="*/ 7154743 h 7872894"/>
              <a:gd name="connsiteX0" fmla="*/ 2822 w 4678960"/>
              <a:gd name="connsiteY0" fmla="*/ 7154743 h 7874206"/>
              <a:gd name="connsiteX1" fmla="*/ 567 w 4678960"/>
              <a:gd name="connsiteY1" fmla="*/ 293188 h 7874206"/>
              <a:gd name="connsiteX2" fmla="*/ 2917082 w 4678960"/>
              <a:gd name="connsiteY2" fmla="*/ 298130 h 7874206"/>
              <a:gd name="connsiteX3" fmla="*/ 4676807 w 4678960"/>
              <a:gd name="connsiteY3" fmla="*/ 3642208 h 7874206"/>
              <a:gd name="connsiteX4" fmla="*/ 2561717 w 4678960"/>
              <a:gd name="connsiteY4" fmla="*/ 7185508 h 7874206"/>
              <a:gd name="connsiteX5" fmla="*/ 2822 w 4678960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473936"/>
              <a:gd name="connsiteX1" fmla="*/ 0 w 4678393"/>
              <a:gd name="connsiteY1" fmla="*/ 293188 h 7473936"/>
              <a:gd name="connsiteX2" fmla="*/ 2916515 w 4678393"/>
              <a:gd name="connsiteY2" fmla="*/ 298130 h 7473936"/>
              <a:gd name="connsiteX3" fmla="*/ 4676240 w 4678393"/>
              <a:gd name="connsiteY3" fmla="*/ 3642208 h 7473936"/>
              <a:gd name="connsiteX4" fmla="*/ 2561150 w 4678393"/>
              <a:gd name="connsiteY4" fmla="*/ 7185508 h 7473936"/>
              <a:gd name="connsiteX5" fmla="*/ 2255 w 4678393"/>
              <a:gd name="connsiteY5" fmla="*/ 7154743 h 7473936"/>
              <a:gd name="connsiteX0" fmla="*/ 2255 w 4678393"/>
              <a:gd name="connsiteY0" fmla="*/ 7154743 h 7450206"/>
              <a:gd name="connsiteX1" fmla="*/ 0 w 4678393"/>
              <a:gd name="connsiteY1" fmla="*/ 293188 h 7450206"/>
              <a:gd name="connsiteX2" fmla="*/ 2916515 w 4678393"/>
              <a:gd name="connsiteY2" fmla="*/ 298130 h 7450206"/>
              <a:gd name="connsiteX3" fmla="*/ 4676240 w 4678393"/>
              <a:gd name="connsiteY3" fmla="*/ 3642208 h 7450206"/>
              <a:gd name="connsiteX4" fmla="*/ 2564325 w 4678393"/>
              <a:gd name="connsiteY4" fmla="*/ 7153758 h 7450206"/>
              <a:gd name="connsiteX5" fmla="*/ 2255 w 4678393"/>
              <a:gd name="connsiteY5" fmla="*/ 7154743 h 7450206"/>
              <a:gd name="connsiteX0" fmla="*/ 2255 w 4678393"/>
              <a:gd name="connsiteY0" fmla="*/ 7154743 h 7154743"/>
              <a:gd name="connsiteX1" fmla="*/ 0 w 4678393"/>
              <a:gd name="connsiteY1" fmla="*/ 293188 h 7154743"/>
              <a:gd name="connsiteX2" fmla="*/ 2916515 w 4678393"/>
              <a:gd name="connsiteY2" fmla="*/ 298130 h 7154743"/>
              <a:gd name="connsiteX3" fmla="*/ 4676240 w 4678393"/>
              <a:gd name="connsiteY3" fmla="*/ 3642208 h 7154743"/>
              <a:gd name="connsiteX4" fmla="*/ 2564325 w 4678393"/>
              <a:gd name="connsiteY4" fmla="*/ 7153758 h 7154743"/>
              <a:gd name="connsiteX5" fmla="*/ 2255 w 4678393"/>
              <a:gd name="connsiteY5" fmla="*/ 7154743 h 7154743"/>
              <a:gd name="connsiteX0" fmla="*/ 2255 w 4678393"/>
              <a:gd name="connsiteY0" fmla="*/ 6861555 h 6861555"/>
              <a:gd name="connsiteX1" fmla="*/ 0 w 4678393"/>
              <a:gd name="connsiteY1" fmla="*/ 0 h 6861555"/>
              <a:gd name="connsiteX2" fmla="*/ 2916515 w 4678393"/>
              <a:gd name="connsiteY2" fmla="*/ 4942 h 6861555"/>
              <a:gd name="connsiteX3" fmla="*/ 4676240 w 4678393"/>
              <a:gd name="connsiteY3" fmla="*/ 3349020 h 6861555"/>
              <a:gd name="connsiteX4" fmla="*/ 2564325 w 4678393"/>
              <a:gd name="connsiteY4" fmla="*/ 6860570 h 6861555"/>
              <a:gd name="connsiteX5" fmla="*/ 2255 w 4678393"/>
              <a:gd name="connsiteY5" fmla="*/ 6861555 h 6861555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9009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8377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3061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71578"/>
              <a:gd name="connsiteX1" fmla="*/ 0 w 4678399"/>
              <a:gd name="connsiteY1" fmla="*/ 1408 h 6871578"/>
              <a:gd name="connsiteX2" fmla="*/ 2919690 w 4678399"/>
              <a:gd name="connsiteY2" fmla="*/ 0 h 6871578"/>
              <a:gd name="connsiteX3" fmla="*/ 4676240 w 4678399"/>
              <a:gd name="connsiteY3" fmla="*/ 3350428 h 6871578"/>
              <a:gd name="connsiteX4" fmla="*/ 2521796 w 4678399"/>
              <a:gd name="connsiteY4" fmla="*/ 6871578 h 6871578"/>
              <a:gd name="connsiteX5" fmla="*/ 2255 w 4678399"/>
              <a:gd name="connsiteY5" fmla="*/ 6862963 h 6871578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6240" h="6862963">
                <a:moveTo>
                  <a:pt x="2255" y="6862963"/>
                </a:moveTo>
                <a:cubicBezTo>
                  <a:pt x="847" y="5679318"/>
                  <a:pt x="65" y="1117189"/>
                  <a:pt x="0" y="1408"/>
                </a:cubicBezTo>
                <a:lnTo>
                  <a:pt x="2919690" y="0"/>
                </a:lnTo>
                <a:cubicBezTo>
                  <a:pt x="3347209" y="321191"/>
                  <a:pt x="4644479" y="1245147"/>
                  <a:pt x="4676240" y="3350428"/>
                </a:cubicBezTo>
                <a:cubicBezTo>
                  <a:pt x="4625578" y="5097946"/>
                  <a:pt x="3667890" y="6255680"/>
                  <a:pt x="2516480" y="6860945"/>
                </a:cubicBezTo>
                <a:lnTo>
                  <a:pt x="2255" y="6862963"/>
                </a:lnTo>
                <a:close/>
              </a:path>
            </a:pathLst>
          </a:custGeom>
          <a:ln>
            <a:noFill/>
          </a:ln>
          <a:extLst>
            <a:ext uri="{91240B29-F687-4f45-9708-019B960494DF}"/>
          </a:extLst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8461" y="110949"/>
            <a:ext cx="6882540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28461" y="1533600"/>
            <a:ext cx="688254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928461" y="2174400"/>
            <a:ext cx="688254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69886651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2585" y="110949"/>
            <a:ext cx="7138416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72585" y="1533600"/>
            <a:ext cx="713841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72585" y="2174400"/>
            <a:ext cx="7138416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3CA72A1A-CDA5-9A46-A824-8BA40A7BC7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301067" cy="68580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04806670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855329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 Titl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32"/>
          <p:cNvSpPr>
            <a:spLocks noGrp="1"/>
          </p:cNvSpPr>
          <p:nvPr>
            <p:ph type="title"/>
          </p:nvPr>
        </p:nvSpPr>
        <p:spPr>
          <a:xfrm>
            <a:off x="2215278" y="4835007"/>
            <a:ext cx="9601200" cy="704148"/>
          </a:xfrm>
          <a:prstGeom prst="rect">
            <a:avLst/>
          </a:prstGeom>
        </p:spPr>
        <p:txBody>
          <a:bodyPr vert="horz"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/>
          </p:nvPr>
        </p:nvSpPr>
        <p:spPr>
          <a:xfrm>
            <a:off x="2215278" y="5539155"/>
            <a:ext cx="9601200" cy="464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15330075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091988" y="0"/>
            <a:ext cx="128587" cy="145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210022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2"/>
          <p:cNvSpPr>
            <a:spLocks noGrp="1"/>
          </p:cNvSpPr>
          <p:nvPr>
            <p:ph type="title"/>
          </p:nvPr>
        </p:nvSpPr>
        <p:spPr>
          <a:xfrm>
            <a:off x="1481327" y="2152650"/>
            <a:ext cx="10058400" cy="2552700"/>
          </a:xfrm>
          <a:prstGeom prst="rect">
            <a:avLst/>
          </a:prstGeom>
        </p:spPr>
        <p:txBody>
          <a:bodyPr vert="horz" anchor="ctr"/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1437712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64A7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noun_leaves_157488.png"/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10393">
            <a:off x="1585265" y="2702403"/>
            <a:ext cx="1453194" cy="1453194"/>
          </a:xfrm>
          <a:prstGeom prst="rect">
            <a:avLst/>
          </a:prstGeom>
        </p:spPr>
      </p:pic>
      <p:sp>
        <p:nvSpPr>
          <p:cNvPr id="3" name="TextBox 4"/>
          <p:cNvSpPr txBox="1">
            <a:spLocks noChangeArrowheads="1"/>
          </p:cNvSpPr>
          <p:nvPr userDrawn="1"/>
        </p:nvSpPr>
        <p:spPr bwMode="auto">
          <a:xfrm>
            <a:off x="3119438" y="2905125"/>
            <a:ext cx="4700587" cy="104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4400">
                <a:solidFill>
                  <a:schemeClr val="bg1"/>
                </a:solidFill>
                <a:cs typeface="Arial" panose="020B0604020202020204" pitchFamily="34" charset="0"/>
              </a:rPr>
              <a:t>IDEXX is green</a:t>
            </a:r>
          </a:p>
          <a:p>
            <a:pPr eaLnBrk="1" hangingPunct="1"/>
            <a:r>
              <a:rPr lang="en-US" altLang="en-US">
                <a:solidFill>
                  <a:schemeClr val="bg1"/>
                </a:solidFill>
                <a:cs typeface="Arial" panose="020B0604020202020204" pitchFamily="34" charset="0"/>
              </a:rPr>
              <a:t>Please project (don’t print)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717366231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new-idexx-color-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3300" y="3194050"/>
            <a:ext cx="25654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7604506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81000" y="1601788"/>
            <a:ext cx="11430000" cy="45259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03635100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789884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F9D744F-A08B-5145-BBEA-D42E6BD319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" y="1533600"/>
            <a:ext cx="4430684" cy="44306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8675977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5868DF8-0066-C04C-B523-8450D0A451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533600"/>
            <a:ext cx="560134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D81E9A-BFAC-2649-8EA2-1E71B0607B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2174400"/>
            <a:ext cx="5601346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AB4DA10-386C-0E45-8192-A2D9EB1279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9322" y="1534150"/>
            <a:ext cx="5611678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BA2A10C-A80A-324D-B7BC-4A1C81054B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9322" y="2174950"/>
            <a:ext cx="5611678" cy="3952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66636964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0949"/>
            <a:ext cx="11430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ltGray">
          <a:xfrm>
            <a:off x="381000" y="1533600"/>
            <a:ext cx="4590288" cy="4593600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27320" y="1533600"/>
            <a:ext cx="658368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227320" y="2174400"/>
            <a:ext cx="658368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200">
                <a:solidFill>
                  <a:schemeClr val="tx1"/>
                </a:solidFill>
              </a:defRPr>
            </a:lvl1pPr>
            <a:lvl2pPr>
              <a:buClr>
                <a:srgbClr val="646566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rgbClr val="646566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rgbClr val="646566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rgbClr val="646566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89546466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 bwMode="ltGray">
          <a:xfrm>
            <a:off x="0" y="-9254"/>
            <a:ext cx="4672584" cy="6867254"/>
          </a:xfrm>
          <a:custGeom>
            <a:avLst/>
            <a:gdLst>
              <a:gd name="connsiteX0" fmla="*/ 0 w 8001000"/>
              <a:gd name="connsiteY0" fmla="*/ 4000500 h 8001000"/>
              <a:gd name="connsiteX1" fmla="*/ 4000500 w 8001000"/>
              <a:gd name="connsiteY1" fmla="*/ 0 h 8001000"/>
              <a:gd name="connsiteX2" fmla="*/ 8001000 w 8001000"/>
              <a:gd name="connsiteY2" fmla="*/ 4000500 h 8001000"/>
              <a:gd name="connsiteX3" fmla="*/ 4000500 w 8001000"/>
              <a:gd name="connsiteY3" fmla="*/ 8001000 h 8001000"/>
              <a:gd name="connsiteX4" fmla="*/ 0 w 8001000"/>
              <a:gd name="connsiteY4" fmla="*/ 4000500 h 8001000"/>
              <a:gd name="connsiteX0" fmla="*/ 0 w 8060683"/>
              <a:gd name="connsiteY0" fmla="*/ 4222799 h 8223299"/>
              <a:gd name="connsiteX1" fmla="*/ 4000500 w 8060683"/>
              <a:gd name="connsiteY1" fmla="*/ 222299 h 8223299"/>
              <a:gd name="connsiteX2" fmla="*/ 6237602 w 8060683"/>
              <a:gd name="connsiteY2" fmla="*/ 908099 h 8223299"/>
              <a:gd name="connsiteX3" fmla="*/ 8001000 w 8060683"/>
              <a:gd name="connsiteY3" fmla="*/ 4222799 h 8223299"/>
              <a:gd name="connsiteX4" fmla="*/ 4000500 w 8060683"/>
              <a:gd name="connsiteY4" fmla="*/ 8223299 h 8223299"/>
              <a:gd name="connsiteX5" fmla="*/ 0 w 8060683"/>
              <a:gd name="connsiteY5" fmla="*/ 4222799 h 8223299"/>
              <a:gd name="connsiteX0" fmla="*/ 8055 w 8068738"/>
              <a:gd name="connsiteY0" fmla="*/ 3760842 h 7761342"/>
              <a:gd name="connsiteX1" fmla="*/ 3296378 w 8068738"/>
              <a:gd name="connsiteY1" fmla="*/ 472519 h 7761342"/>
              <a:gd name="connsiteX2" fmla="*/ 6245657 w 8068738"/>
              <a:gd name="connsiteY2" fmla="*/ 446142 h 7761342"/>
              <a:gd name="connsiteX3" fmla="*/ 8009055 w 8068738"/>
              <a:gd name="connsiteY3" fmla="*/ 3760842 h 7761342"/>
              <a:gd name="connsiteX4" fmla="*/ 4008555 w 8068738"/>
              <a:gd name="connsiteY4" fmla="*/ 7761342 h 7761342"/>
              <a:gd name="connsiteX5" fmla="*/ 8055 w 8068738"/>
              <a:gd name="connsiteY5" fmla="*/ 3760842 h 7761342"/>
              <a:gd name="connsiteX0" fmla="*/ 6123 w 8066806"/>
              <a:gd name="connsiteY0" fmla="*/ 3768834 h 7769334"/>
              <a:gd name="connsiteX1" fmla="*/ 3373577 w 8066806"/>
              <a:gd name="connsiteY1" fmla="*/ 462926 h 7769334"/>
              <a:gd name="connsiteX2" fmla="*/ 6243725 w 8066806"/>
              <a:gd name="connsiteY2" fmla="*/ 454134 h 7769334"/>
              <a:gd name="connsiteX3" fmla="*/ 8007123 w 8066806"/>
              <a:gd name="connsiteY3" fmla="*/ 3768834 h 7769334"/>
              <a:gd name="connsiteX4" fmla="*/ 4006623 w 8066806"/>
              <a:gd name="connsiteY4" fmla="*/ 7769334 h 7769334"/>
              <a:gd name="connsiteX5" fmla="*/ 6123 w 8066806"/>
              <a:gd name="connsiteY5" fmla="*/ 3768834 h 7769334"/>
              <a:gd name="connsiteX0" fmla="*/ 6939 w 8067622"/>
              <a:gd name="connsiteY0" fmla="*/ 3768834 h 7769334"/>
              <a:gd name="connsiteX1" fmla="*/ 3339224 w 8067622"/>
              <a:gd name="connsiteY1" fmla="*/ 462926 h 7769334"/>
              <a:gd name="connsiteX2" fmla="*/ 6244541 w 8067622"/>
              <a:gd name="connsiteY2" fmla="*/ 454134 h 7769334"/>
              <a:gd name="connsiteX3" fmla="*/ 8007939 w 8067622"/>
              <a:gd name="connsiteY3" fmla="*/ 3768834 h 7769334"/>
              <a:gd name="connsiteX4" fmla="*/ 4007439 w 8067622"/>
              <a:gd name="connsiteY4" fmla="*/ 7769334 h 7769334"/>
              <a:gd name="connsiteX5" fmla="*/ 6939 w 8067622"/>
              <a:gd name="connsiteY5" fmla="*/ 3768834 h 7769334"/>
              <a:gd name="connsiteX0" fmla="*/ 6939 w 8010086"/>
              <a:gd name="connsiteY0" fmla="*/ 3768834 h 7984710"/>
              <a:gd name="connsiteX1" fmla="*/ 3339224 w 8010086"/>
              <a:gd name="connsiteY1" fmla="*/ 462926 h 7984710"/>
              <a:gd name="connsiteX2" fmla="*/ 6244541 w 8010086"/>
              <a:gd name="connsiteY2" fmla="*/ 454134 h 7984710"/>
              <a:gd name="connsiteX3" fmla="*/ 8007939 w 8010086"/>
              <a:gd name="connsiteY3" fmla="*/ 3768834 h 7984710"/>
              <a:gd name="connsiteX4" fmla="*/ 5892849 w 8010086"/>
              <a:gd name="connsiteY4" fmla="*/ 7057157 h 7984710"/>
              <a:gd name="connsiteX5" fmla="*/ 4007439 w 8010086"/>
              <a:gd name="connsiteY5" fmla="*/ 7769334 h 7984710"/>
              <a:gd name="connsiteX6" fmla="*/ 6939 w 8010086"/>
              <a:gd name="connsiteY6" fmla="*/ 3768834 h 7984710"/>
              <a:gd name="connsiteX0" fmla="*/ 6939 w 8010086"/>
              <a:gd name="connsiteY0" fmla="*/ 3768834 h 8061801"/>
              <a:gd name="connsiteX1" fmla="*/ 3339224 w 8010086"/>
              <a:gd name="connsiteY1" fmla="*/ 462926 h 8061801"/>
              <a:gd name="connsiteX2" fmla="*/ 6244541 w 8010086"/>
              <a:gd name="connsiteY2" fmla="*/ 454134 h 8061801"/>
              <a:gd name="connsiteX3" fmla="*/ 8007939 w 8010086"/>
              <a:gd name="connsiteY3" fmla="*/ 3768834 h 8061801"/>
              <a:gd name="connsiteX4" fmla="*/ 5892849 w 8010086"/>
              <a:gd name="connsiteY4" fmla="*/ 7312134 h 8061801"/>
              <a:gd name="connsiteX5" fmla="*/ 4007439 w 8010086"/>
              <a:gd name="connsiteY5" fmla="*/ 7769334 h 8061801"/>
              <a:gd name="connsiteX6" fmla="*/ 6939 w 8010086"/>
              <a:gd name="connsiteY6" fmla="*/ 3768834 h 8061801"/>
              <a:gd name="connsiteX0" fmla="*/ 6 w 8003153"/>
              <a:gd name="connsiteY0" fmla="*/ 3768834 h 7779879"/>
              <a:gd name="connsiteX1" fmla="*/ 3332291 w 8003153"/>
              <a:gd name="connsiteY1" fmla="*/ 462926 h 7779879"/>
              <a:gd name="connsiteX2" fmla="*/ 6237608 w 8003153"/>
              <a:gd name="connsiteY2" fmla="*/ 454134 h 7779879"/>
              <a:gd name="connsiteX3" fmla="*/ 8001006 w 8003153"/>
              <a:gd name="connsiteY3" fmla="*/ 3768834 h 7779879"/>
              <a:gd name="connsiteX4" fmla="*/ 5885916 w 8003153"/>
              <a:gd name="connsiteY4" fmla="*/ 7312134 h 7779879"/>
              <a:gd name="connsiteX5" fmla="*/ 3349875 w 8003153"/>
              <a:gd name="connsiteY5" fmla="*/ 7303342 h 7779879"/>
              <a:gd name="connsiteX6" fmla="*/ 6 w 8003153"/>
              <a:gd name="connsiteY6" fmla="*/ 3768834 h 7779879"/>
              <a:gd name="connsiteX0" fmla="*/ 3 w 8003150"/>
              <a:gd name="connsiteY0" fmla="*/ 3768834 h 7775751"/>
              <a:gd name="connsiteX1" fmla="*/ 3332288 w 8003150"/>
              <a:gd name="connsiteY1" fmla="*/ 462926 h 7775751"/>
              <a:gd name="connsiteX2" fmla="*/ 6237605 w 8003150"/>
              <a:gd name="connsiteY2" fmla="*/ 454134 h 7775751"/>
              <a:gd name="connsiteX3" fmla="*/ 8001003 w 8003150"/>
              <a:gd name="connsiteY3" fmla="*/ 3768834 h 7775751"/>
              <a:gd name="connsiteX4" fmla="*/ 5885913 w 8003150"/>
              <a:gd name="connsiteY4" fmla="*/ 7312134 h 7775751"/>
              <a:gd name="connsiteX5" fmla="*/ 3314702 w 8003150"/>
              <a:gd name="connsiteY5" fmla="*/ 7294550 h 7775751"/>
              <a:gd name="connsiteX6" fmla="*/ 3 w 8003150"/>
              <a:gd name="connsiteY6" fmla="*/ 3768834 h 77757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333562 w 5022010"/>
              <a:gd name="connsiteY0" fmla="*/ 7524025 h 8220651"/>
              <a:gd name="connsiteX1" fmla="*/ 351148 w 5022010"/>
              <a:gd name="connsiteY1" fmla="*/ 692401 h 8220651"/>
              <a:gd name="connsiteX2" fmla="*/ 3256465 w 5022010"/>
              <a:gd name="connsiteY2" fmla="*/ 683609 h 8220651"/>
              <a:gd name="connsiteX3" fmla="*/ 5019863 w 5022010"/>
              <a:gd name="connsiteY3" fmla="*/ 3998309 h 8220651"/>
              <a:gd name="connsiteX4" fmla="*/ 2904773 w 5022010"/>
              <a:gd name="connsiteY4" fmla="*/ 7541609 h 8220651"/>
              <a:gd name="connsiteX5" fmla="*/ 333562 w 5022010"/>
              <a:gd name="connsiteY5" fmla="*/ 7524025 h 8220651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41687 h 7838313"/>
              <a:gd name="connsiteX1" fmla="*/ 664079 w 5334941"/>
              <a:gd name="connsiteY1" fmla="*/ 310063 h 7838313"/>
              <a:gd name="connsiteX2" fmla="*/ 3569396 w 5334941"/>
              <a:gd name="connsiteY2" fmla="*/ 301271 h 7838313"/>
              <a:gd name="connsiteX3" fmla="*/ 5332794 w 5334941"/>
              <a:gd name="connsiteY3" fmla="*/ 3615971 h 7838313"/>
              <a:gd name="connsiteX4" fmla="*/ 3217704 w 5334941"/>
              <a:gd name="connsiteY4" fmla="*/ 7159271 h 7838313"/>
              <a:gd name="connsiteX5" fmla="*/ 646493 w 5334941"/>
              <a:gd name="connsiteY5" fmla="*/ 7141687 h 7838313"/>
              <a:gd name="connsiteX0" fmla="*/ 646493 w 5334941"/>
              <a:gd name="connsiteY0" fmla="*/ 7135777 h 7832403"/>
              <a:gd name="connsiteX1" fmla="*/ 664079 w 5334941"/>
              <a:gd name="connsiteY1" fmla="*/ 304153 h 7832403"/>
              <a:gd name="connsiteX2" fmla="*/ 3569396 w 5334941"/>
              <a:gd name="connsiteY2" fmla="*/ 295361 h 7832403"/>
              <a:gd name="connsiteX3" fmla="*/ 5332794 w 5334941"/>
              <a:gd name="connsiteY3" fmla="*/ 3610061 h 7832403"/>
              <a:gd name="connsiteX4" fmla="*/ 3217704 w 5334941"/>
              <a:gd name="connsiteY4" fmla="*/ 7153361 h 7832403"/>
              <a:gd name="connsiteX5" fmla="*/ 646493 w 5334941"/>
              <a:gd name="connsiteY5" fmla="*/ 7135777 h 7832403"/>
              <a:gd name="connsiteX0" fmla="*/ 182720 w 4871168"/>
              <a:gd name="connsiteY0" fmla="*/ 7135777 h 7832403"/>
              <a:gd name="connsiteX1" fmla="*/ 200306 w 4871168"/>
              <a:gd name="connsiteY1" fmla="*/ 304153 h 7832403"/>
              <a:gd name="connsiteX2" fmla="*/ 3105623 w 4871168"/>
              <a:gd name="connsiteY2" fmla="*/ 295361 h 7832403"/>
              <a:gd name="connsiteX3" fmla="*/ 4869021 w 4871168"/>
              <a:gd name="connsiteY3" fmla="*/ 3610061 h 7832403"/>
              <a:gd name="connsiteX4" fmla="*/ 2753931 w 4871168"/>
              <a:gd name="connsiteY4" fmla="*/ 7153361 h 7832403"/>
              <a:gd name="connsiteX5" fmla="*/ 182720 w 4871168"/>
              <a:gd name="connsiteY5" fmla="*/ 7135777 h 7832403"/>
              <a:gd name="connsiteX0" fmla="*/ 182720 w 4871168"/>
              <a:gd name="connsiteY0" fmla="*/ 7124471 h 7821097"/>
              <a:gd name="connsiteX1" fmla="*/ 200306 w 4871168"/>
              <a:gd name="connsiteY1" fmla="*/ 292847 h 7821097"/>
              <a:gd name="connsiteX2" fmla="*/ 3105623 w 4871168"/>
              <a:gd name="connsiteY2" fmla="*/ 284055 h 7821097"/>
              <a:gd name="connsiteX3" fmla="*/ 4869021 w 4871168"/>
              <a:gd name="connsiteY3" fmla="*/ 3598755 h 7821097"/>
              <a:gd name="connsiteX4" fmla="*/ 2753931 w 4871168"/>
              <a:gd name="connsiteY4" fmla="*/ 7142055 h 7821097"/>
              <a:gd name="connsiteX5" fmla="*/ 182720 w 4871168"/>
              <a:gd name="connsiteY5" fmla="*/ 7124471 h 7821097"/>
              <a:gd name="connsiteX0" fmla="*/ 182720 w 4871168"/>
              <a:gd name="connsiteY0" fmla="*/ 7133321 h 7829947"/>
              <a:gd name="connsiteX1" fmla="*/ 200306 w 4871168"/>
              <a:gd name="connsiteY1" fmla="*/ 301697 h 7829947"/>
              <a:gd name="connsiteX2" fmla="*/ 3105623 w 4871168"/>
              <a:gd name="connsiteY2" fmla="*/ 292905 h 7829947"/>
              <a:gd name="connsiteX3" fmla="*/ 4869021 w 4871168"/>
              <a:gd name="connsiteY3" fmla="*/ 3607605 h 7829947"/>
              <a:gd name="connsiteX4" fmla="*/ 2753931 w 4871168"/>
              <a:gd name="connsiteY4" fmla="*/ 7150905 h 7829947"/>
              <a:gd name="connsiteX5" fmla="*/ 182720 w 4871168"/>
              <a:gd name="connsiteY5" fmla="*/ 7133321 h 7829947"/>
              <a:gd name="connsiteX0" fmla="*/ 186720 w 4875168"/>
              <a:gd name="connsiteY0" fmla="*/ 7137599 h 7835370"/>
              <a:gd name="connsiteX1" fmla="*/ 191837 w 4875168"/>
              <a:gd name="connsiteY1" fmla="*/ 289350 h 7835370"/>
              <a:gd name="connsiteX2" fmla="*/ 3109623 w 4875168"/>
              <a:gd name="connsiteY2" fmla="*/ 297183 h 7835370"/>
              <a:gd name="connsiteX3" fmla="*/ 4873021 w 4875168"/>
              <a:gd name="connsiteY3" fmla="*/ 3611883 h 7835370"/>
              <a:gd name="connsiteX4" fmla="*/ 2757931 w 4875168"/>
              <a:gd name="connsiteY4" fmla="*/ 7155183 h 7835370"/>
              <a:gd name="connsiteX5" fmla="*/ 186720 w 4875168"/>
              <a:gd name="connsiteY5" fmla="*/ 7137599 h 7835370"/>
              <a:gd name="connsiteX0" fmla="*/ 171307 w 4859755"/>
              <a:gd name="connsiteY0" fmla="*/ 7112714 h 7803338"/>
              <a:gd name="connsiteX1" fmla="*/ 226300 w 4859755"/>
              <a:gd name="connsiteY1" fmla="*/ 368374 h 7803338"/>
              <a:gd name="connsiteX2" fmla="*/ 3094210 w 4859755"/>
              <a:gd name="connsiteY2" fmla="*/ 272298 h 7803338"/>
              <a:gd name="connsiteX3" fmla="*/ 4857608 w 4859755"/>
              <a:gd name="connsiteY3" fmla="*/ 3586998 h 7803338"/>
              <a:gd name="connsiteX4" fmla="*/ 2742518 w 4859755"/>
              <a:gd name="connsiteY4" fmla="*/ 7130298 h 7803338"/>
              <a:gd name="connsiteX5" fmla="*/ 171307 w 4859755"/>
              <a:gd name="connsiteY5" fmla="*/ 7112714 h 7803338"/>
              <a:gd name="connsiteX0" fmla="*/ 184041 w 4872489"/>
              <a:gd name="connsiteY0" fmla="*/ 7134379 h 7831291"/>
              <a:gd name="connsiteX1" fmla="*/ 197470 w 4872489"/>
              <a:gd name="connsiteY1" fmla="*/ 298599 h 7831291"/>
              <a:gd name="connsiteX2" fmla="*/ 3106944 w 4872489"/>
              <a:gd name="connsiteY2" fmla="*/ 293963 h 7831291"/>
              <a:gd name="connsiteX3" fmla="*/ 4870342 w 4872489"/>
              <a:gd name="connsiteY3" fmla="*/ 3608663 h 7831291"/>
              <a:gd name="connsiteX4" fmla="*/ 2755252 w 4872489"/>
              <a:gd name="connsiteY4" fmla="*/ 7151963 h 7831291"/>
              <a:gd name="connsiteX5" fmla="*/ 184041 w 4872489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7347 w 4875795"/>
              <a:gd name="connsiteY0" fmla="*/ 7134379 h 7831291"/>
              <a:gd name="connsiteX1" fmla="*/ 200776 w 4875795"/>
              <a:gd name="connsiteY1" fmla="*/ 298599 h 7831291"/>
              <a:gd name="connsiteX2" fmla="*/ 3110250 w 4875795"/>
              <a:gd name="connsiteY2" fmla="*/ 293963 h 7831291"/>
              <a:gd name="connsiteX3" fmla="*/ 4873648 w 4875795"/>
              <a:gd name="connsiteY3" fmla="*/ 3608663 h 7831291"/>
              <a:gd name="connsiteX4" fmla="*/ 2758558 w 4875795"/>
              <a:gd name="connsiteY4" fmla="*/ 7151963 h 7831291"/>
              <a:gd name="connsiteX5" fmla="*/ 187347 w 4875795"/>
              <a:gd name="connsiteY5" fmla="*/ 7134379 h 7831291"/>
              <a:gd name="connsiteX0" fmla="*/ 189716 w 4868927"/>
              <a:gd name="connsiteY0" fmla="*/ 7152851 h 7842196"/>
              <a:gd name="connsiteX1" fmla="*/ 193908 w 4868927"/>
              <a:gd name="connsiteY1" fmla="*/ 298599 h 7842196"/>
              <a:gd name="connsiteX2" fmla="*/ 3103382 w 4868927"/>
              <a:gd name="connsiteY2" fmla="*/ 293963 h 7842196"/>
              <a:gd name="connsiteX3" fmla="*/ 4866780 w 4868927"/>
              <a:gd name="connsiteY3" fmla="*/ 3608663 h 7842196"/>
              <a:gd name="connsiteX4" fmla="*/ 2751690 w 4868927"/>
              <a:gd name="connsiteY4" fmla="*/ 7151963 h 7842196"/>
              <a:gd name="connsiteX5" fmla="*/ 189716 w 4868927"/>
              <a:gd name="connsiteY5" fmla="*/ 7152851 h 7842196"/>
              <a:gd name="connsiteX0" fmla="*/ 2 w 4679213"/>
              <a:gd name="connsiteY0" fmla="*/ 7152851 h 7447842"/>
              <a:gd name="connsiteX1" fmla="*/ 4194 w 4679213"/>
              <a:gd name="connsiteY1" fmla="*/ 298599 h 7447842"/>
              <a:gd name="connsiteX2" fmla="*/ 2913668 w 4679213"/>
              <a:gd name="connsiteY2" fmla="*/ 293963 h 7447842"/>
              <a:gd name="connsiteX3" fmla="*/ 4677066 w 4679213"/>
              <a:gd name="connsiteY3" fmla="*/ 3608663 h 7447842"/>
              <a:gd name="connsiteX4" fmla="*/ 2561976 w 4679213"/>
              <a:gd name="connsiteY4" fmla="*/ 7151963 h 7447842"/>
              <a:gd name="connsiteX5" fmla="*/ 2 w 4679213"/>
              <a:gd name="connsiteY5" fmla="*/ 7152851 h 7447842"/>
              <a:gd name="connsiteX0" fmla="*/ 232986 w 4675130"/>
              <a:gd name="connsiteY0" fmla="*/ 7082039 h 7430577"/>
              <a:gd name="connsiteX1" fmla="*/ 111 w 4675130"/>
              <a:gd name="connsiteY1" fmla="*/ 298599 h 7430577"/>
              <a:gd name="connsiteX2" fmla="*/ 2909585 w 4675130"/>
              <a:gd name="connsiteY2" fmla="*/ 293963 h 7430577"/>
              <a:gd name="connsiteX3" fmla="*/ 4672983 w 4675130"/>
              <a:gd name="connsiteY3" fmla="*/ 3608663 h 7430577"/>
              <a:gd name="connsiteX4" fmla="*/ 2557893 w 4675130"/>
              <a:gd name="connsiteY4" fmla="*/ 7151963 h 7430577"/>
              <a:gd name="connsiteX5" fmla="*/ 232986 w 4675130"/>
              <a:gd name="connsiteY5" fmla="*/ 7082039 h 7430577"/>
              <a:gd name="connsiteX0" fmla="*/ 1481 w 4677613"/>
              <a:gd name="connsiteY0" fmla="*/ 7149773 h 7447048"/>
              <a:gd name="connsiteX1" fmla="*/ 2594 w 4677613"/>
              <a:gd name="connsiteY1" fmla="*/ 298599 h 7447048"/>
              <a:gd name="connsiteX2" fmla="*/ 2912068 w 4677613"/>
              <a:gd name="connsiteY2" fmla="*/ 293963 h 7447048"/>
              <a:gd name="connsiteX3" fmla="*/ 4675466 w 4677613"/>
              <a:gd name="connsiteY3" fmla="*/ 3608663 h 7447048"/>
              <a:gd name="connsiteX4" fmla="*/ 2560376 w 4677613"/>
              <a:gd name="connsiteY4" fmla="*/ 7151963 h 7447048"/>
              <a:gd name="connsiteX5" fmla="*/ 1481 w 4677613"/>
              <a:gd name="connsiteY5" fmla="*/ 7149773 h 7447048"/>
              <a:gd name="connsiteX0" fmla="*/ 165734 w 4841866"/>
              <a:gd name="connsiteY0" fmla="*/ 7139154 h 7826771"/>
              <a:gd name="connsiteX1" fmla="*/ 246896 w 4841866"/>
              <a:gd name="connsiteY1" fmla="*/ 331083 h 7826771"/>
              <a:gd name="connsiteX2" fmla="*/ 3076321 w 4841866"/>
              <a:gd name="connsiteY2" fmla="*/ 283344 h 7826771"/>
              <a:gd name="connsiteX3" fmla="*/ 4839719 w 4841866"/>
              <a:gd name="connsiteY3" fmla="*/ 3598044 h 7826771"/>
              <a:gd name="connsiteX4" fmla="*/ 2724629 w 4841866"/>
              <a:gd name="connsiteY4" fmla="*/ 7141344 h 7826771"/>
              <a:gd name="connsiteX5" fmla="*/ 165734 w 4841866"/>
              <a:gd name="connsiteY5" fmla="*/ 7139154 h 7826771"/>
              <a:gd name="connsiteX0" fmla="*/ 192597 w 4868729"/>
              <a:gd name="connsiteY0" fmla="*/ 7111990 h 7790893"/>
              <a:gd name="connsiteX1" fmla="*/ 187553 w 4868729"/>
              <a:gd name="connsiteY1" fmla="*/ 430149 h 7790893"/>
              <a:gd name="connsiteX2" fmla="*/ 3103184 w 4868729"/>
              <a:gd name="connsiteY2" fmla="*/ 256180 h 7790893"/>
              <a:gd name="connsiteX3" fmla="*/ 4866582 w 4868729"/>
              <a:gd name="connsiteY3" fmla="*/ 3570880 h 7790893"/>
              <a:gd name="connsiteX4" fmla="*/ 2751492 w 4868729"/>
              <a:gd name="connsiteY4" fmla="*/ 7114180 h 7790893"/>
              <a:gd name="connsiteX5" fmla="*/ 192597 w 4868729"/>
              <a:gd name="connsiteY5" fmla="*/ 7111990 h 7790893"/>
              <a:gd name="connsiteX0" fmla="*/ 135176 w 4811308"/>
              <a:gd name="connsiteY0" fmla="*/ 7105556 h 7782125"/>
              <a:gd name="connsiteX1" fmla="*/ 336411 w 4811308"/>
              <a:gd name="connsiteY1" fmla="*/ 457582 h 7782125"/>
              <a:gd name="connsiteX2" fmla="*/ 3045763 w 4811308"/>
              <a:gd name="connsiteY2" fmla="*/ 249746 h 7782125"/>
              <a:gd name="connsiteX3" fmla="*/ 4809161 w 4811308"/>
              <a:gd name="connsiteY3" fmla="*/ 3564446 h 7782125"/>
              <a:gd name="connsiteX4" fmla="*/ 2694071 w 4811308"/>
              <a:gd name="connsiteY4" fmla="*/ 7107746 h 7782125"/>
              <a:gd name="connsiteX5" fmla="*/ 135176 w 4811308"/>
              <a:gd name="connsiteY5" fmla="*/ 7105556 h 7782125"/>
              <a:gd name="connsiteX0" fmla="*/ 157213 w 4833345"/>
              <a:gd name="connsiteY0" fmla="*/ 7115639 h 7795816"/>
              <a:gd name="connsiteX1" fmla="*/ 269163 w 4833345"/>
              <a:gd name="connsiteY1" fmla="*/ 415325 h 7795816"/>
              <a:gd name="connsiteX2" fmla="*/ 3067800 w 4833345"/>
              <a:gd name="connsiteY2" fmla="*/ 259829 h 7795816"/>
              <a:gd name="connsiteX3" fmla="*/ 4831198 w 4833345"/>
              <a:gd name="connsiteY3" fmla="*/ 3574529 h 7795816"/>
              <a:gd name="connsiteX4" fmla="*/ 2716108 w 4833345"/>
              <a:gd name="connsiteY4" fmla="*/ 7117829 h 7795816"/>
              <a:gd name="connsiteX5" fmla="*/ 157213 w 4833345"/>
              <a:gd name="connsiteY5" fmla="*/ 7115639 h 7795816"/>
              <a:gd name="connsiteX0" fmla="*/ 156353 w 4832485"/>
              <a:gd name="connsiteY0" fmla="*/ 7115639 h 7795816"/>
              <a:gd name="connsiteX1" fmla="*/ 268303 w 4832485"/>
              <a:gd name="connsiteY1" fmla="*/ 415325 h 7795816"/>
              <a:gd name="connsiteX2" fmla="*/ 3066940 w 4832485"/>
              <a:gd name="connsiteY2" fmla="*/ 259829 h 7795816"/>
              <a:gd name="connsiteX3" fmla="*/ 4830338 w 4832485"/>
              <a:gd name="connsiteY3" fmla="*/ 3574529 h 7795816"/>
              <a:gd name="connsiteX4" fmla="*/ 2715248 w 4832485"/>
              <a:gd name="connsiteY4" fmla="*/ 7117829 h 7795816"/>
              <a:gd name="connsiteX5" fmla="*/ 156353 w 4832485"/>
              <a:gd name="connsiteY5" fmla="*/ 7115639 h 7795816"/>
              <a:gd name="connsiteX0" fmla="*/ 162218 w 4838350"/>
              <a:gd name="connsiteY0" fmla="*/ 7153758 h 7845421"/>
              <a:gd name="connsiteX1" fmla="*/ 252617 w 4838350"/>
              <a:gd name="connsiteY1" fmla="*/ 287189 h 7845421"/>
              <a:gd name="connsiteX2" fmla="*/ 3072805 w 4838350"/>
              <a:gd name="connsiteY2" fmla="*/ 297948 h 7845421"/>
              <a:gd name="connsiteX3" fmla="*/ 4836203 w 4838350"/>
              <a:gd name="connsiteY3" fmla="*/ 3612648 h 7845421"/>
              <a:gd name="connsiteX4" fmla="*/ 2721113 w 4838350"/>
              <a:gd name="connsiteY4" fmla="*/ 7155948 h 7845421"/>
              <a:gd name="connsiteX5" fmla="*/ 162218 w 4838350"/>
              <a:gd name="connsiteY5" fmla="*/ 7153758 h 7845421"/>
              <a:gd name="connsiteX0" fmla="*/ 162218 w 4838350"/>
              <a:gd name="connsiteY0" fmla="*/ 7127231 h 7811232"/>
              <a:gd name="connsiteX1" fmla="*/ 252617 w 4838350"/>
              <a:gd name="connsiteY1" fmla="*/ 371498 h 7811232"/>
              <a:gd name="connsiteX2" fmla="*/ 3072805 w 4838350"/>
              <a:gd name="connsiteY2" fmla="*/ 271421 h 7811232"/>
              <a:gd name="connsiteX3" fmla="*/ 4836203 w 4838350"/>
              <a:gd name="connsiteY3" fmla="*/ 3586121 h 7811232"/>
              <a:gd name="connsiteX4" fmla="*/ 2721113 w 4838350"/>
              <a:gd name="connsiteY4" fmla="*/ 7129421 h 7811232"/>
              <a:gd name="connsiteX5" fmla="*/ 162218 w 4838350"/>
              <a:gd name="connsiteY5" fmla="*/ 7127231 h 7811232"/>
              <a:gd name="connsiteX0" fmla="*/ 169100 w 4845232"/>
              <a:gd name="connsiteY0" fmla="*/ 7127237 h 7811238"/>
              <a:gd name="connsiteX1" fmla="*/ 259499 w 4845232"/>
              <a:gd name="connsiteY1" fmla="*/ 371504 h 7811238"/>
              <a:gd name="connsiteX2" fmla="*/ 3079687 w 4845232"/>
              <a:gd name="connsiteY2" fmla="*/ 271427 h 7811238"/>
              <a:gd name="connsiteX3" fmla="*/ 4843085 w 4845232"/>
              <a:gd name="connsiteY3" fmla="*/ 3586127 h 7811238"/>
              <a:gd name="connsiteX4" fmla="*/ 2727995 w 4845232"/>
              <a:gd name="connsiteY4" fmla="*/ 7129427 h 7811238"/>
              <a:gd name="connsiteX5" fmla="*/ 169100 w 4845232"/>
              <a:gd name="connsiteY5" fmla="*/ 7127237 h 7811238"/>
              <a:gd name="connsiteX0" fmla="*/ 219843 w 4895975"/>
              <a:gd name="connsiteY0" fmla="*/ 7118137 h 7799163"/>
              <a:gd name="connsiteX1" fmla="*/ 162460 w 4895975"/>
              <a:gd name="connsiteY1" fmla="*/ 405507 h 7799163"/>
              <a:gd name="connsiteX2" fmla="*/ 3130430 w 4895975"/>
              <a:gd name="connsiteY2" fmla="*/ 262327 h 7799163"/>
              <a:gd name="connsiteX3" fmla="*/ 4893828 w 4895975"/>
              <a:gd name="connsiteY3" fmla="*/ 3577027 h 7799163"/>
              <a:gd name="connsiteX4" fmla="*/ 2778738 w 4895975"/>
              <a:gd name="connsiteY4" fmla="*/ 7120327 h 7799163"/>
              <a:gd name="connsiteX5" fmla="*/ 219843 w 4895975"/>
              <a:gd name="connsiteY5" fmla="*/ 7118137 h 7799163"/>
              <a:gd name="connsiteX0" fmla="*/ 202277 w 4878409"/>
              <a:gd name="connsiteY0" fmla="*/ 7113808 h 7793348"/>
              <a:gd name="connsiteX1" fmla="*/ 191076 w 4878409"/>
              <a:gd name="connsiteY1" fmla="*/ 422730 h 7793348"/>
              <a:gd name="connsiteX2" fmla="*/ 3112864 w 4878409"/>
              <a:gd name="connsiteY2" fmla="*/ 257998 h 7793348"/>
              <a:gd name="connsiteX3" fmla="*/ 4876262 w 4878409"/>
              <a:gd name="connsiteY3" fmla="*/ 3572698 h 7793348"/>
              <a:gd name="connsiteX4" fmla="*/ 2761172 w 4878409"/>
              <a:gd name="connsiteY4" fmla="*/ 7115998 h 7793348"/>
              <a:gd name="connsiteX5" fmla="*/ 202277 w 4878409"/>
              <a:gd name="connsiteY5" fmla="*/ 7113808 h 7793348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199422 w 4875554"/>
              <a:gd name="connsiteY0" fmla="*/ 7107672 h 7785019"/>
              <a:gd name="connsiteX1" fmla="*/ 196172 w 4875554"/>
              <a:gd name="connsiteY1" fmla="*/ 448399 h 7785019"/>
              <a:gd name="connsiteX2" fmla="*/ 3110009 w 4875554"/>
              <a:gd name="connsiteY2" fmla="*/ 251862 h 7785019"/>
              <a:gd name="connsiteX3" fmla="*/ 4873407 w 4875554"/>
              <a:gd name="connsiteY3" fmla="*/ 3566562 h 7785019"/>
              <a:gd name="connsiteX4" fmla="*/ 2758317 w 4875554"/>
              <a:gd name="connsiteY4" fmla="*/ 7109862 h 7785019"/>
              <a:gd name="connsiteX5" fmla="*/ 199422 w 4875554"/>
              <a:gd name="connsiteY5" fmla="*/ 7107672 h 7785019"/>
              <a:gd name="connsiteX0" fmla="*/ 85583 w 4761715"/>
              <a:gd name="connsiteY0" fmla="*/ 7107672 h 7785019"/>
              <a:gd name="connsiteX1" fmla="*/ 82333 w 4761715"/>
              <a:gd name="connsiteY1" fmla="*/ 448399 h 7785019"/>
              <a:gd name="connsiteX2" fmla="*/ 2996170 w 4761715"/>
              <a:gd name="connsiteY2" fmla="*/ 251862 h 7785019"/>
              <a:gd name="connsiteX3" fmla="*/ 4759568 w 4761715"/>
              <a:gd name="connsiteY3" fmla="*/ 3566562 h 7785019"/>
              <a:gd name="connsiteX4" fmla="*/ 2644478 w 4761715"/>
              <a:gd name="connsiteY4" fmla="*/ 7109862 h 7785019"/>
              <a:gd name="connsiteX5" fmla="*/ 85583 w 4761715"/>
              <a:gd name="connsiteY5" fmla="*/ 7107672 h 7785019"/>
              <a:gd name="connsiteX0" fmla="*/ 85583 w 4761715"/>
              <a:gd name="connsiteY0" fmla="*/ 7074631 h 7751978"/>
              <a:gd name="connsiteX1" fmla="*/ 82333 w 4761715"/>
              <a:gd name="connsiteY1" fmla="*/ 415358 h 7751978"/>
              <a:gd name="connsiteX2" fmla="*/ 2996170 w 4761715"/>
              <a:gd name="connsiteY2" fmla="*/ 218821 h 7751978"/>
              <a:gd name="connsiteX3" fmla="*/ 4759568 w 4761715"/>
              <a:gd name="connsiteY3" fmla="*/ 3533521 h 7751978"/>
              <a:gd name="connsiteX4" fmla="*/ 2644478 w 4761715"/>
              <a:gd name="connsiteY4" fmla="*/ 7076821 h 7751978"/>
              <a:gd name="connsiteX5" fmla="*/ 85583 w 4761715"/>
              <a:gd name="connsiteY5" fmla="*/ 7074631 h 7751978"/>
              <a:gd name="connsiteX0" fmla="*/ 157610 w 4833742"/>
              <a:gd name="connsiteY0" fmla="*/ 7074631 h 7751978"/>
              <a:gd name="connsiteX1" fmla="*/ 154360 w 4833742"/>
              <a:gd name="connsiteY1" fmla="*/ 415358 h 7751978"/>
              <a:gd name="connsiteX2" fmla="*/ 3068197 w 4833742"/>
              <a:gd name="connsiteY2" fmla="*/ 218821 h 7751978"/>
              <a:gd name="connsiteX3" fmla="*/ 4831595 w 4833742"/>
              <a:gd name="connsiteY3" fmla="*/ 3533521 h 7751978"/>
              <a:gd name="connsiteX4" fmla="*/ 2716505 w 4833742"/>
              <a:gd name="connsiteY4" fmla="*/ 7076821 h 7751978"/>
              <a:gd name="connsiteX5" fmla="*/ 157610 w 4833742"/>
              <a:gd name="connsiteY5" fmla="*/ 7074631 h 7751978"/>
              <a:gd name="connsiteX0" fmla="*/ 345911 w 5022043"/>
              <a:gd name="connsiteY0" fmla="*/ 7098958 h 7776305"/>
              <a:gd name="connsiteX1" fmla="*/ 342661 w 5022043"/>
              <a:gd name="connsiteY1" fmla="*/ 439685 h 7776305"/>
              <a:gd name="connsiteX2" fmla="*/ 3256498 w 5022043"/>
              <a:gd name="connsiteY2" fmla="*/ 243148 h 7776305"/>
              <a:gd name="connsiteX3" fmla="*/ 5019896 w 5022043"/>
              <a:gd name="connsiteY3" fmla="*/ 3557848 h 7776305"/>
              <a:gd name="connsiteX4" fmla="*/ 2904806 w 5022043"/>
              <a:gd name="connsiteY4" fmla="*/ 7101148 h 7776305"/>
              <a:gd name="connsiteX5" fmla="*/ 345911 w 5022043"/>
              <a:gd name="connsiteY5" fmla="*/ 7098958 h 7776305"/>
              <a:gd name="connsiteX0" fmla="*/ 190117 w 4866249"/>
              <a:gd name="connsiteY0" fmla="*/ 7193225 h 7870572"/>
              <a:gd name="connsiteX1" fmla="*/ 186867 w 4866249"/>
              <a:gd name="connsiteY1" fmla="*/ 533952 h 7870572"/>
              <a:gd name="connsiteX2" fmla="*/ 3100704 w 4866249"/>
              <a:gd name="connsiteY2" fmla="*/ 337415 h 7870572"/>
              <a:gd name="connsiteX3" fmla="*/ 4864102 w 4866249"/>
              <a:gd name="connsiteY3" fmla="*/ 3652115 h 7870572"/>
              <a:gd name="connsiteX4" fmla="*/ 2749012 w 4866249"/>
              <a:gd name="connsiteY4" fmla="*/ 7195415 h 7870572"/>
              <a:gd name="connsiteX5" fmla="*/ 190117 w 4866249"/>
              <a:gd name="connsiteY5" fmla="*/ 7193225 h 7870572"/>
              <a:gd name="connsiteX0" fmla="*/ 188894 w 4865026"/>
              <a:gd name="connsiteY0" fmla="*/ 7274677 h 7967496"/>
              <a:gd name="connsiteX1" fmla="*/ 189317 w 4865026"/>
              <a:gd name="connsiteY1" fmla="*/ 391394 h 7967496"/>
              <a:gd name="connsiteX2" fmla="*/ 3099481 w 4865026"/>
              <a:gd name="connsiteY2" fmla="*/ 418867 h 7967496"/>
              <a:gd name="connsiteX3" fmla="*/ 4862879 w 4865026"/>
              <a:gd name="connsiteY3" fmla="*/ 3733567 h 7967496"/>
              <a:gd name="connsiteX4" fmla="*/ 2747789 w 4865026"/>
              <a:gd name="connsiteY4" fmla="*/ 7276867 h 7967496"/>
              <a:gd name="connsiteX5" fmla="*/ 188894 w 4865026"/>
              <a:gd name="connsiteY5" fmla="*/ 7274677 h 7967496"/>
              <a:gd name="connsiteX0" fmla="*/ 192591 w 4868723"/>
              <a:gd name="connsiteY0" fmla="*/ 7277850 h 7971178"/>
              <a:gd name="connsiteX1" fmla="*/ 181997 w 4868723"/>
              <a:gd name="connsiteY1" fmla="*/ 387222 h 7971178"/>
              <a:gd name="connsiteX2" fmla="*/ 3103178 w 4868723"/>
              <a:gd name="connsiteY2" fmla="*/ 422040 h 7971178"/>
              <a:gd name="connsiteX3" fmla="*/ 4866576 w 4868723"/>
              <a:gd name="connsiteY3" fmla="*/ 3736740 h 7971178"/>
              <a:gd name="connsiteX4" fmla="*/ 2751486 w 4868723"/>
              <a:gd name="connsiteY4" fmla="*/ 7280040 h 7971178"/>
              <a:gd name="connsiteX5" fmla="*/ 192591 w 4868723"/>
              <a:gd name="connsiteY5" fmla="*/ 7277850 h 7971178"/>
              <a:gd name="connsiteX0" fmla="*/ 193427 w 4869559"/>
              <a:gd name="connsiteY0" fmla="*/ 7163116 h 7856444"/>
              <a:gd name="connsiteX1" fmla="*/ 182833 w 4869559"/>
              <a:gd name="connsiteY1" fmla="*/ 272488 h 7856444"/>
              <a:gd name="connsiteX2" fmla="*/ 3104014 w 4869559"/>
              <a:gd name="connsiteY2" fmla="*/ 307306 h 7856444"/>
              <a:gd name="connsiteX3" fmla="*/ 4867412 w 4869559"/>
              <a:gd name="connsiteY3" fmla="*/ 3622006 h 7856444"/>
              <a:gd name="connsiteX4" fmla="*/ 2752322 w 4869559"/>
              <a:gd name="connsiteY4" fmla="*/ 7165306 h 7856444"/>
              <a:gd name="connsiteX5" fmla="*/ 193427 w 4869559"/>
              <a:gd name="connsiteY5" fmla="*/ 7163116 h 7856444"/>
              <a:gd name="connsiteX0" fmla="*/ 170155 w 4846287"/>
              <a:gd name="connsiteY0" fmla="*/ 7143047 h 7831040"/>
              <a:gd name="connsiteX1" fmla="*/ 233007 w 4846287"/>
              <a:gd name="connsiteY1" fmla="*/ 329537 h 7831040"/>
              <a:gd name="connsiteX2" fmla="*/ 3080742 w 4846287"/>
              <a:gd name="connsiteY2" fmla="*/ 287237 h 7831040"/>
              <a:gd name="connsiteX3" fmla="*/ 4844140 w 4846287"/>
              <a:gd name="connsiteY3" fmla="*/ 3601937 h 7831040"/>
              <a:gd name="connsiteX4" fmla="*/ 2729050 w 4846287"/>
              <a:gd name="connsiteY4" fmla="*/ 7145237 h 7831040"/>
              <a:gd name="connsiteX5" fmla="*/ 170155 w 4846287"/>
              <a:gd name="connsiteY5" fmla="*/ 7143047 h 7831040"/>
              <a:gd name="connsiteX0" fmla="*/ 188486 w 4864618"/>
              <a:gd name="connsiteY0" fmla="*/ 7162098 h 7855172"/>
              <a:gd name="connsiteX1" fmla="*/ 192581 w 4864618"/>
              <a:gd name="connsiteY1" fmla="*/ 275143 h 7855172"/>
              <a:gd name="connsiteX2" fmla="*/ 3099073 w 4864618"/>
              <a:gd name="connsiteY2" fmla="*/ 306288 h 7855172"/>
              <a:gd name="connsiteX3" fmla="*/ 4862471 w 4864618"/>
              <a:gd name="connsiteY3" fmla="*/ 3620988 h 7855172"/>
              <a:gd name="connsiteX4" fmla="*/ 2747381 w 4864618"/>
              <a:gd name="connsiteY4" fmla="*/ 7164288 h 7855172"/>
              <a:gd name="connsiteX5" fmla="*/ 188486 w 4864618"/>
              <a:gd name="connsiteY5" fmla="*/ 7162098 h 785517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578148 h 8271222"/>
              <a:gd name="connsiteX1" fmla="*/ 344138 w 5016181"/>
              <a:gd name="connsiteY1" fmla="*/ 691193 h 8271222"/>
              <a:gd name="connsiteX2" fmla="*/ 3254303 w 5016181"/>
              <a:gd name="connsiteY2" fmla="*/ 692960 h 8271222"/>
              <a:gd name="connsiteX3" fmla="*/ 5014028 w 5016181"/>
              <a:gd name="connsiteY3" fmla="*/ 4037038 h 8271222"/>
              <a:gd name="connsiteX4" fmla="*/ 2898938 w 5016181"/>
              <a:gd name="connsiteY4" fmla="*/ 7580338 h 8271222"/>
              <a:gd name="connsiteX5" fmla="*/ 340043 w 5016181"/>
              <a:gd name="connsiteY5" fmla="*/ 7578148 h 8271222"/>
              <a:gd name="connsiteX0" fmla="*/ 340043 w 5016181"/>
              <a:gd name="connsiteY0" fmla="*/ 7181559 h 7874633"/>
              <a:gd name="connsiteX1" fmla="*/ 344138 w 5016181"/>
              <a:gd name="connsiteY1" fmla="*/ 294604 h 7874633"/>
              <a:gd name="connsiteX2" fmla="*/ 3254303 w 5016181"/>
              <a:gd name="connsiteY2" fmla="*/ 296371 h 7874633"/>
              <a:gd name="connsiteX3" fmla="*/ 5014028 w 5016181"/>
              <a:gd name="connsiteY3" fmla="*/ 3640449 h 7874633"/>
              <a:gd name="connsiteX4" fmla="*/ 2898938 w 5016181"/>
              <a:gd name="connsiteY4" fmla="*/ 7183749 h 7874633"/>
              <a:gd name="connsiteX5" fmla="*/ 340043 w 5016181"/>
              <a:gd name="connsiteY5" fmla="*/ 7181559 h 7874633"/>
              <a:gd name="connsiteX0" fmla="*/ 340043 w 5016181"/>
              <a:gd name="connsiteY0" fmla="*/ 7183197 h 7876271"/>
              <a:gd name="connsiteX1" fmla="*/ 344138 w 5016181"/>
              <a:gd name="connsiteY1" fmla="*/ 296242 h 7876271"/>
              <a:gd name="connsiteX2" fmla="*/ 3254303 w 5016181"/>
              <a:gd name="connsiteY2" fmla="*/ 298009 h 7876271"/>
              <a:gd name="connsiteX3" fmla="*/ 5014028 w 5016181"/>
              <a:gd name="connsiteY3" fmla="*/ 3642087 h 7876271"/>
              <a:gd name="connsiteX4" fmla="*/ 2898938 w 5016181"/>
              <a:gd name="connsiteY4" fmla="*/ 7185387 h 7876271"/>
              <a:gd name="connsiteX5" fmla="*/ 340043 w 5016181"/>
              <a:gd name="connsiteY5" fmla="*/ 7183197 h 7876271"/>
              <a:gd name="connsiteX0" fmla="*/ 340043 w 5016181"/>
              <a:gd name="connsiteY0" fmla="*/ 7184031 h 7877324"/>
              <a:gd name="connsiteX1" fmla="*/ 344138 w 5016181"/>
              <a:gd name="connsiteY1" fmla="*/ 293901 h 7877324"/>
              <a:gd name="connsiteX2" fmla="*/ 3254303 w 5016181"/>
              <a:gd name="connsiteY2" fmla="*/ 298843 h 7877324"/>
              <a:gd name="connsiteX3" fmla="*/ 5014028 w 5016181"/>
              <a:gd name="connsiteY3" fmla="*/ 3642921 h 7877324"/>
              <a:gd name="connsiteX4" fmla="*/ 2898938 w 5016181"/>
              <a:gd name="connsiteY4" fmla="*/ 7186221 h 7877324"/>
              <a:gd name="connsiteX5" fmla="*/ 340043 w 5016181"/>
              <a:gd name="connsiteY5" fmla="*/ 7184031 h 7877324"/>
              <a:gd name="connsiteX0" fmla="*/ 338200 w 5014338"/>
              <a:gd name="connsiteY0" fmla="*/ 7184031 h 7877324"/>
              <a:gd name="connsiteX1" fmla="*/ 345470 w 5014338"/>
              <a:gd name="connsiteY1" fmla="*/ 293901 h 7877324"/>
              <a:gd name="connsiteX2" fmla="*/ 3252460 w 5014338"/>
              <a:gd name="connsiteY2" fmla="*/ 298843 h 7877324"/>
              <a:gd name="connsiteX3" fmla="*/ 5012185 w 5014338"/>
              <a:gd name="connsiteY3" fmla="*/ 3642921 h 7877324"/>
              <a:gd name="connsiteX4" fmla="*/ 2897095 w 5014338"/>
              <a:gd name="connsiteY4" fmla="*/ 7186221 h 7877324"/>
              <a:gd name="connsiteX5" fmla="*/ 338200 w 5014338"/>
              <a:gd name="connsiteY5" fmla="*/ 7184031 h 7877324"/>
              <a:gd name="connsiteX0" fmla="*/ 338200 w 5014338"/>
              <a:gd name="connsiteY0" fmla="*/ 7183318 h 7876611"/>
              <a:gd name="connsiteX1" fmla="*/ 345470 w 5014338"/>
              <a:gd name="connsiteY1" fmla="*/ 293188 h 7876611"/>
              <a:gd name="connsiteX2" fmla="*/ 3252460 w 5014338"/>
              <a:gd name="connsiteY2" fmla="*/ 298130 h 7876611"/>
              <a:gd name="connsiteX3" fmla="*/ 5012185 w 5014338"/>
              <a:gd name="connsiteY3" fmla="*/ 3642208 h 7876611"/>
              <a:gd name="connsiteX4" fmla="*/ 2897095 w 5014338"/>
              <a:gd name="connsiteY4" fmla="*/ 7185508 h 7876611"/>
              <a:gd name="connsiteX5" fmla="*/ 338200 w 5014338"/>
              <a:gd name="connsiteY5" fmla="*/ 7183318 h 7876611"/>
              <a:gd name="connsiteX0" fmla="*/ 189227 w 4865365"/>
              <a:gd name="connsiteY0" fmla="*/ 7183318 h 7876611"/>
              <a:gd name="connsiteX1" fmla="*/ 196497 w 4865365"/>
              <a:gd name="connsiteY1" fmla="*/ 293188 h 7876611"/>
              <a:gd name="connsiteX2" fmla="*/ 3103487 w 4865365"/>
              <a:gd name="connsiteY2" fmla="*/ 298130 h 7876611"/>
              <a:gd name="connsiteX3" fmla="*/ 4863212 w 4865365"/>
              <a:gd name="connsiteY3" fmla="*/ 3642208 h 7876611"/>
              <a:gd name="connsiteX4" fmla="*/ 2748122 w 4865365"/>
              <a:gd name="connsiteY4" fmla="*/ 7185508 h 7876611"/>
              <a:gd name="connsiteX5" fmla="*/ 189227 w 4865365"/>
              <a:gd name="connsiteY5" fmla="*/ 7183318 h 7876611"/>
              <a:gd name="connsiteX0" fmla="*/ 192432 w 4868570"/>
              <a:gd name="connsiteY0" fmla="*/ 7183318 h 7876611"/>
              <a:gd name="connsiteX1" fmla="*/ 190177 w 4868570"/>
              <a:gd name="connsiteY1" fmla="*/ 293188 h 7876611"/>
              <a:gd name="connsiteX2" fmla="*/ 3106692 w 4868570"/>
              <a:gd name="connsiteY2" fmla="*/ 298130 h 7876611"/>
              <a:gd name="connsiteX3" fmla="*/ 4866417 w 4868570"/>
              <a:gd name="connsiteY3" fmla="*/ 3642208 h 7876611"/>
              <a:gd name="connsiteX4" fmla="*/ 2751327 w 4868570"/>
              <a:gd name="connsiteY4" fmla="*/ 7185508 h 7876611"/>
              <a:gd name="connsiteX5" fmla="*/ 192432 w 4868570"/>
              <a:gd name="connsiteY5" fmla="*/ 7183318 h 7876611"/>
              <a:gd name="connsiteX0" fmla="*/ 190287 w 4866425"/>
              <a:gd name="connsiteY0" fmla="*/ 7183318 h 7876611"/>
              <a:gd name="connsiteX1" fmla="*/ 188032 w 4866425"/>
              <a:gd name="connsiteY1" fmla="*/ 293188 h 7876611"/>
              <a:gd name="connsiteX2" fmla="*/ 3104547 w 4866425"/>
              <a:gd name="connsiteY2" fmla="*/ 298130 h 7876611"/>
              <a:gd name="connsiteX3" fmla="*/ 4864272 w 4866425"/>
              <a:gd name="connsiteY3" fmla="*/ 3642208 h 7876611"/>
              <a:gd name="connsiteX4" fmla="*/ 2749182 w 4866425"/>
              <a:gd name="connsiteY4" fmla="*/ 7185508 h 7876611"/>
              <a:gd name="connsiteX5" fmla="*/ 190287 w 4866425"/>
              <a:gd name="connsiteY5" fmla="*/ 7183318 h 7876611"/>
              <a:gd name="connsiteX0" fmla="*/ 190287 w 4866425"/>
              <a:gd name="connsiteY0" fmla="*/ 7154743 h 7859802"/>
              <a:gd name="connsiteX1" fmla="*/ 188032 w 4866425"/>
              <a:gd name="connsiteY1" fmla="*/ 293188 h 7859802"/>
              <a:gd name="connsiteX2" fmla="*/ 3104547 w 4866425"/>
              <a:gd name="connsiteY2" fmla="*/ 298130 h 7859802"/>
              <a:gd name="connsiteX3" fmla="*/ 4864272 w 4866425"/>
              <a:gd name="connsiteY3" fmla="*/ 3642208 h 7859802"/>
              <a:gd name="connsiteX4" fmla="*/ 2749182 w 4866425"/>
              <a:gd name="connsiteY4" fmla="*/ 7185508 h 7859802"/>
              <a:gd name="connsiteX5" fmla="*/ 190287 w 4866425"/>
              <a:gd name="connsiteY5" fmla="*/ 7154743 h 7859802"/>
              <a:gd name="connsiteX0" fmla="*/ 2255 w 4678393"/>
              <a:gd name="connsiteY0" fmla="*/ 7154743 h 7872894"/>
              <a:gd name="connsiteX1" fmla="*/ 0 w 4678393"/>
              <a:gd name="connsiteY1" fmla="*/ 293188 h 7872894"/>
              <a:gd name="connsiteX2" fmla="*/ 2916515 w 4678393"/>
              <a:gd name="connsiteY2" fmla="*/ 298130 h 7872894"/>
              <a:gd name="connsiteX3" fmla="*/ 4676240 w 4678393"/>
              <a:gd name="connsiteY3" fmla="*/ 3642208 h 7872894"/>
              <a:gd name="connsiteX4" fmla="*/ 2561150 w 4678393"/>
              <a:gd name="connsiteY4" fmla="*/ 7185508 h 7872894"/>
              <a:gd name="connsiteX5" fmla="*/ 2255 w 4678393"/>
              <a:gd name="connsiteY5" fmla="*/ 7154743 h 7872894"/>
              <a:gd name="connsiteX0" fmla="*/ 2822 w 4678960"/>
              <a:gd name="connsiteY0" fmla="*/ 7154743 h 7874206"/>
              <a:gd name="connsiteX1" fmla="*/ 567 w 4678960"/>
              <a:gd name="connsiteY1" fmla="*/ 293188 h 7874206"/>
              <a:gd name="connsiteX2" fmla="*/ 2917082 w 4678960"/>
              <a:gd name="connsiteY2" fmla="*/ 298130 h 7874206"/>
              <a:gd name="connsiteX3" fmla="*/ 4676807 w 4678960"/>
              <a:gd name="connsiteY3" fmla="*/ 3642208 h 7874206"/>
              <a:gd name="connsiteX4" fmla="*/ 2561717 w 4678960"/>
              <a:gd name="connsiteY4" fmla="*/ 7185508 h 7874206"/>
              <a:gd name="connsiteX5" fmla="*/ 2822 w 4678960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874206"/>
              <a:gd name="connsiteX1" fmla="*/ 0 w 4678393"/>
              <a:gd name="connsiteY1" fmla="*/ 293188 h 7874206"/>
              <a:gd name="connsiteX2" fmla="*/ 2916515 w 4678393"/>
              <a:gd name="connsiteY2" fmla="*/ 298130 h 7874206"/>
              <a:gd name="connsiteX3" fmla="*/ 4676240 w 4678393"/>
              <a:gd name="connsiteY3" fmla="*/ 3642208 h 7874206"/>
              <a:gd name="connsiteX4" fmla="*/ 2561150 w 4678393"/>
              <a:gd name="connsiteY4" fmla="*/ 7185508 h 7874206"/>
              <a:gd name="connsiteX5" fmla="*/ 2255 w 4678393"/>
              <a:gd name="connsiteY5" fmla="*/ 7154743 h 7874206"/>
              <a:gd name="connsiteX0" fmla="*/ 2255 w 4678393"/>
              <a:gd name="connsiteY0" fmla="*/ 7154743 h 7473936"/>
              <a:gd name="connsiteX1" fmla="*/ 0 w 4678393"/>
              <a:gd name="connsiteY1" fmla="*/ 293188 h 7473936"/>
              <a:gd name="connsiteX2" fmla="*/ 2916515 w 4678393"/>
              <a:gd name="connsiteY2" fmla="*/ 298130 h 7473936"/>
              <a:gd name="connsiteX3" fmla="*/ 4676240 w 4678393"/>
              <a:gd name="connsiteY3" fmla="*/ 3642208 h 7473936"/>
              <a:gd name="connsiteX4" fmla="*/ 2561150 w 4678393"/>
              <a:gd name="connsiteY4" fmla="*/ 7185508 h 7473936"/>
              <a:gd name="connsiteX5" fmla="*/ 2255 w 4678393"/>
              <a:gd name="connsiteY5" fmla="*/ 7154743 h 7473936"/>
              <a:gd name="connsiteX0" fmla="*/ 2255 w 4678393"/>
              <a:gd name="connsiteY0" fmla="*/ 7154743 h 7450206"/>
              <a:gd name="connsiteX1" fmla="*/ 0 w 4678393"/>
              <a:gd name="connsiteY1" fmla="*/ 293188 h 7450206"/>
              <a:gd name="connsiteX2" fmla="*/ 2916515 w 4678393"/>
              <a:gd name="connsiteY2" fmla="*/ 298130 h 7450206"/>
              <a:gd name="connsiteX3" fmla="*/ 4676240 w 4678393"/>
              <a:gd name="connsiteY3" fmla="*/ 3642208 h 7450206"/>
              <a:gd name="connsiteX4" fmla="*/ 2564325 w 4678393"/>
              <a:gd name="connsiteY4" fmla="*/ 7153758 h 7450206"/>
              <a:gd name="connsiteX5" fmla="*/ 2255 w 4678393"/>
              <a:gd name="connsiteY5" fmla="*/ 7154743 h 7450206"/>
              <a:gd name="connsiteX0" fmla="*/ 2255 w 4678393"/>
              <a:gd name="connsiteY0" fmla="*/ 7154743 h 7154743"/>
              <a:gd name="connsiteX1" fmla="*/ 0 w 4678393"/>
              <a:gd name="connsiteY1" fmla="*/ 293188 h 7154743"/>
              <a:gd name="connsiteX2" fmla="*/ 2916515 w 4678393"/>
              <a:gd name="connsiteY2" fmla="*/ 298130 h 7154743"/>
              <a:gd name="connsiteX3" fmla="*/ 4676240 w 4678393"/>
              <a:gd name="connsiteY3" fmla="*/ 3642208 h 7154743"/>
              <a:gd name="connsiteX4" fmla="*/ 2564325 w 4678393"/>
              <a:gd name="connsiteY4" fmla="*/ 7153758 h 7154743"/>
              <a:gd name="connsiteX5" fmla="*/ 2255 w 4678393"/>
              <a:gd name="connsiteY5" fmla="*/ 7154743 h 7154743"/>
              <a:gd name="connsiteX0" fmla="*/ 2255 w 4678393"/>
              <a:gd name="connsiteY0" fmla="*/ 6861555 h 6861555"/>
              <a:gd name="connsiteX1" fmla="*/ 0 w 4678393"/>
              <a:gd name="connsiteY1" fmla="*/ 0 h 6861555"/>
              <a:gd name="connsiteX2" fmla="*/ 2916515 w 4678393"/>
              <a:gd name="connsiteY2" fmla="*/ 4942 h 6861555"/>
              <a:gd name="connsiteX3" fmla="*/ 4676240 w 4678393"/>
              <a:gd name="connsiteY3" fmla="*/ 3349020 h 6861555"/>
              <a:gd name="connsiteX4" fmla="*/ 2564325 w 4678393"/>
              <a:gd name="connsiteY4" fmla="*/ 6860570 h 6861555"/>
              <a:gd name="connsiteX5" fmla="*/ 2255 w 4678393"/>
              <a:gd name="connsiteY5" fmla="*/ 6861555 h 6861555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7975 w 4678399"/>
              <a:gd name="connsiteY4" fmla="*/ 686197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64325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59009 w 4678399"/>
              <a:gd name="connsiteY4" fmla="*/ 6855628 h 6862963"/>
              <a:gd name="connsiteX5" fmla="*/ 2255 w 4678399"/>
              <a:gd name="connsiteY5" fmla="*/ 6862963 h 6862963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8377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66261"/>
              <a:gd name="connsiteX1" fmla="*/ 0 w 4678399"/>
              <a:gd name="connsiteY1" fmla="*/ 1408 h 6866261"/>
              <a:gd name="connsiteX2" fmla="*/ 2919690 w 4678399"/>
              <a:gd name="connsiteY2" fmla="*/ 0 h 6866261"/>
              <a:gd name="connsiteX3" fmla="*/ 4676240 w 4678399"/>
              <a:gd name="connsiteY3" fmla="*/ 3350428 h 6866261"/>
              <a:gd name="connsiteX4" fmla="*/ 2543061 w 4678399"/>
              <a:gd name="connsiteY4" fmla="*/ 6866261 h 6866261"/>
              <a:gd name="connsiteX5" fmla="*/ 2255 w 4678399"/>
              <a:gd name="connsiteY5" fmla="*/ 6862963 h 6866261"/>
              <a:gd name="connsiteX0" fmla="*/ 2255 w 4678399"/>
              <a:gd name="connsiteY0" fmla="*/ 6862963 h 6871578"/>
              <a:gd name="connsiteX1" fmla="*/ 0 w 4678399"/>
              <a:gd name="connsiteY1" fmla="*/ 1408 h 6871578"/>
              <a:gd name="connsiteX2" fmla="*/ 2919690 w 4678399"/>
              <a:gd name="connsiteY2" fmla="*/ 0 h 6871578"/>
              <a:gd name="connsiteX3" fmla="*/ 4676240 w 4678399"/>
              <a:gd name="connsiteY3" fmla="*/ 3350428 h 6871578"/>
              <a:gd name="connsiteX4" fmla="*/ 2521796 w 4678399"/>
              <a:gd name="connsiteY4" fmla="*/ 6871578 h 6871578"/>
              <a:gd name="connsiteX5" fmla="*/ 2255 w 4678399"/>
              <a:gd name="connsiteY5" fmla="*/ 6862963 h 6871578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8399"/>
              <a:gd name="connsiteY0" fmla="*/ 6862963 h 6862963"/>
              <a:gd name="connsiteX1" fmla="*/ 0 w 4678399"/>
              <a:gd name="connsiteY1" fmla="*/ 1408 h 6862963"/>
              <a:gd name="connsiteX2" fmla="*/ 2919690 w 4678399"/>
              <a:gd name="connsiteY2" fmla="*/ 0 h 6862963"/>
              <a:gd name="connsiteX3" fmla="*/ 4676240 w 4678399"/>
              <a:gd name="connsiteY3" fmla="*/ 3350428 h 6862963"/>
              <a:gd name="connsiteX4" fmla="*/ 2516480 w 4678399"/>
              <a:gd name="connsiteY4" fmla="*/ 6860945 h 6862963"/>
              <a:gd name="connsiteX5" fmla="*/ 2255 w 4678399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  <a:gd name="connsiteX0" fmla="*/ 2255 w 4676240"/>
              <a:gd name="connsiteY0" fmla="*/ 6862963 h 6862963"/>
              <a:gd name="connsiteX1" fmla="*/ 0 w 4676240"/>
              <a:gd name="connsiteY1" fmla="*/ 1408 h 6862963"/>
              <a:gd name="connsiteX2" fmla="*/ 2919690 w 4676240"/>
              <a:gd name="connsiteY2" fmla="*/ 0 h 6862963"/>
              <a:gd name="connsiteX3" fmla="*/ 4676240 w 4676240"/>
              <a:gd name="connsiteY3" fmla="*/ 3350428 h 6862963"/>
              <a:gd name="connsiteX4" fmla="*/ 2516480 w 4676240"/>
              <a:gd name="connsiteY4" fmla="*/ 6860945 h 6862963"/>
              <a:gd name="connsiteX5" fmla="*/ 2255 w 4676240"/>
              <a:gd name="connsiteY5" fmla="*/ 6862963 h 686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6240" h="6862963">
                <a:moveTo>
                  <a:pt x="2255" y="6862963"/>
                </a:moveTo>
                <a:cubicBezTo>
                  <a:pt x="847" y="5679318"/>
                  <a:pt x="65" y="1117189"/>
                  <a:pt x="0" y="1408"/>
                </a:cubicBezTo>
                <a:lnTo>
                  <a:pt x="2919690" y="0"/>
                </a:lnTo>
                <a:cubicBezTo>
                  <a:pt x="3347209" y="321191"/>
                  <a:pt x="4644479" y="1245147"/>
                  <a:pt x="4676240" y="3350428"/>
                </a:cubicBezTo>
                <a:cubicBezTo>
                  <a:pt x="4625578" y="5097946"/>
                  <a:pt x="3667890" y="6255680"/>
                  <a:pt x="2516480" y="6860945"/>
                </a:cubicBezTo>
                <a:lnTo>
                  <a:pt x="2255" y="6862963"/>
                </a:lnTo>
                <a:close/>
              </a:path>
            </a:pathLst>
          </a:custGeom>
          <a:ln>
            <a:noFill/>
          </a:ln>
          <a:extLst>
            <a:ext uri="{91240B29-F687-4f45-9708-019B960494DF}"/>
          </a:extLst>
        </p:spPr>
        <p:txBody>
          <a:bodyPr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8461" y="110949"/>
            <a:ext cx="6882540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28461" y="1533600"/>
            <a:ext cx="6882540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928461" y="2174400"/>
            <a:ext cx="6882540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1042247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 lef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025" y="6423025"/>
            <a:ext cx="6016625" cy="1936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2585" y="110949"/>
            <a:ext cx="7138416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72585" y="1533600"/>
            <a:ext cx="7138416" cy="640800"/>
          </a:xfrm>
        </p:spPr>
        <p:txBody>
          <a:bodyPr anchor="b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72585" y="2174400"/>
            <a:ext cx="7138416" cy="3952800"/>
          </a:xfrm>
        </p:spPr>
        <p:txBody>
          <a:bodyPr>
            <a:noAutofit/>
          </a:bodyPr>
          <a:lstStyle>
            <a:lvl1pPr>
              <a:buClr>
                <a:srgbClr val="646566"/>
              </a:buClr>
              <a:defRPr sz="2000"/>
            </a:lvl1pPr>
            <a:lvl2pPr>
              <a:buClr>
                <a:srgbClr val="646566"/>
              </a:buClr>
              <a:defRPr sz="2000"/>
            </a:lvl2pPr>
            <a:lvl3pPr>
              <a:buClr>
                <a:srgbClr val="646566"/>
              </a:buClr>
              <a:defRPr sz="1800"/>
            </a:lvl3pPr>
            <a:lvl4pPr>
              <a:buClr>
                <a:srgbClr val="646566"/>
              </a:buClr>
              <a:defRPr sz="1600"/>
            </a:lvl4pPr>
            <a:lvl5pPr>
              <a:buClr>
                <a:srgbClr val="646566"/>
              </a:buCl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3CA72A1A-CDA5-9A46-A824-8BA40A7BC7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301067" cy="6858000"/>
          </a:xfr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6246897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ags" Target="../tags/tag18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63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0.vml"/><Relationship Id="rId4" Type="http://schemas.openxmlformats.org/officeDocument/2006/relationships/slideLayout" Target="../slideLayouts/slideLayout62.xml"/><Relationship Id="rId9" Type="http://schemas.openxmlformats.org/officeDocument/2006/relationships/theme" Target="../theme/theme10.xml"/><Relationship Id="rId14" Type="http://schemas.openxmlformats.org/officeDocument/2006/relationships/image" Target="../media/image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oleObject" Target="../embeddings/oleObject11.bin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ags" Target="../tags/tag20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tags" Target="../tags/tag19.xml"/><Relationship Id="rId5" Type="http://schemas.openxmlformats.org/officeDocument/2006/relationships/slideLayout" Target="../slideLayouts/slideLayout71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70.xml"/><Relationship Id="rId9" Type="http://schemas.openxmlformats.org/officeDocument/2006/relationships/theme" Target="../theme/theme11.xml"/><Relationship Id="rId14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oleObject" Target="../embeddings/oleObject12.bin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ags" Target="../tags/tag22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79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2.vml"/><Relationship Id="rId4" Type="http://schemas.openxmlformats.org/officeDocument/2006/relationships/slideLayout" Target="../slideLayouts/slideLayout78.xml"/><Relationship Id="rId9" Type="http://schemas.openxmlformats.org/officeDocument/2006/relationships/theme" Target="../theme/theme12.xml"/><Relationship Id="rId14" Type="http://schemas.openxmlformats.org/officeDocument/2006/relationships/image" Target="../media/image1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oleObject" Target="../embeddings/oleObject13.bin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ags" Target="../tags/tag24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tags" Target="../tags/tag23.xml"/><Relationship Id="rId5" Type="http://schemas.openxmlformats.org/officeDocument/2006/relationships/slideLayout" Target="../slideLayouts/slideLayout87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3.vml"/><Relationship Id="rId4" Type="http://schemas.openxmlformats.org/officeDocument/2006/relationships/slideLayout" Target="../slideLayouts/slideLayout86.xml"/><Relationship Id="rId9" Type="http://schemas.openxmlformats.org/officeDocument/2006/relationships/theme" Target="../theme/theme13.xml"/><Relationship Id="rId14" Type="http://schemas.openxmlformats.org/officeDocument/2006/relationships/image" Target="../media/image8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93.xml"/><Relationship Id="rId7" Type="http://schemas.openxmlformats.org/officeDocument/2006/relationships/oleObject" Target="../embeddings/oleObject14.bin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tags" Target="../tags/tag25.xml"/><Relationship Id="rId5" Type="http://schemas.openxmlformats.org/officeDocument/2006/relationships/vmlDrawing" Target="../drawings/vmlDrawing14.vml"/><Relationship Id="rId4" Type="http://schemas.openxmlformats.org/officeDocument/2006/relationships/theme" Target="../theme/theme14.xml"/><Relationship Id="rId9" Type="http://schemas.openxmlformats.org/officeDocument/2006/relationships/image" Target="../media/image3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oleObject" Target="../embeddings/oleObject15.bin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ags" Target="../tags/tag27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98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5.vml"/><Relationship Id="rId4" Type="http://schemas.openxmlformats.org/officeDocument/2006/relationships/slideLayout" Target="../slideLayouts/slideLayout97.xml"/><Relationship Id="rId9" Type="http://schemas.openxmlformats.org/officeDocument/2006/relationships/theme" Target="../theme/theme15.xml"/><Relationship Id="rId14" Type="http://schemas.openxmlformats.org/officeDocument/2006/relationships/image" Target="../media/image1.em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oleObject" Target="../embeddings/oleObject16.bin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tags" Target="../tags/tag29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tags" Target="../tags/tag28.xml"/><Relationship Id="rId5" Type="http://schemas.openxmlformats.org/officeDocument/2006/relationships/slideLayout" Target="../slideLayouts/slideLayout106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6.vml"/><Relationship Id="rId4" Type="http://schemas.openxmlformats.org/officeDocument/2006/relationships/slideLayout" Target="../slideLayouts/slideLayout105.xml"/><Relationship Id="rId9" Type="http://schemas.openxmlformats.org/officeDocument/2006/relationships/theme" Target="../theme/theme16.xml"/><Relationship Id="rId14" Type="http://schemas.openxmlformats.org/officeDocument/2006/relationships/image" Target="../media/image8.emf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oleObject" Target="../embeddings/oleObject17.bin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tags" Target="../tags/tag31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tags" Target="../tags/tag30.xml"/><Relationship Id="rId5" Type="http://schemas.openxmlformats.org/officeDocument/2006/relationships/slideLayout" Target="../slideLayouts/slideLayout114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7.vml"/><Relationship Id="rId4" Type="http://schemas.openxmlformats.org/officeDocument/2006/relationships/slideLayout" Target="../slideLayouts/slideLayout113.xml"/><Relationship Id="rId9" Type="http://schemas.openxmlformats.org/officeDocument/2006/relationships/theme" Target="../theme/theme17.xml"/><Relationship Id="rId14" Type="http://schemas.openxmlformats.org/officeDocument/2006/relationships/image" Target="../media/image8.emf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oleObject" Target="../embeddings/oleObject18.bin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tags" Target="../tags/tag33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tags" Target="../tags/tag32.xml"/><Relationship Id="rId5" Type="http://schemas.openxmlformats.org/officeDocument/2006/relationships/slideLayout" Target="../slideLayouts/slideLayout122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8.vml"/><Relationship Id="rId4" Type="http://schemas.openxmlformats.org/officeDocument/2006/relationships/slideLayout" Target="../slideLayouts/slideLayout121.xml"/><Relationship Id="rId9" Type="http://schemas.openxmlformats.org/officeDocument/2006/relationships/theme" Target="../theme/theme18.xml"/><Relationship Id="rId14" Type="http://schemas.openxmlformats.org/officeDocument/2006/relationships/image" Target="../media/image8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oleObject" Target="../embeddings/oleObject2.bin"/><Relationship Id="rId5" Type="http://schemas.openxmlformats.org/officeDocument/2006/relationships/tags" Target="../tags/tag4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5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3.xml"/><Relationship Id="rId9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6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4.xml"/><Relationship Id="rId9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6.xml"/><Relationship Id="rId14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ags" Target="../tags/tag11.xml"/><Relationship Id="rId2" Type="http://schemas.openxmlformats.org/officeDocument/2006/relationships/slideLayout" Target="../slideLayouts/slideLayout3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vmlDrawing" Target="../drawings/vmlDrawing7.v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1.emf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oleObject" Target="../embeddings/oleObject7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ags" Target="../tags/tag13.xml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8.vml"/><Relationship Id="rId4" Type="http://schemas.openxmlformats.org/officeDocument/2006/relationships/slideLayout" Target="../slideLayouts/slideLayout45.xml"/><Relationship Id="rId9" Type="http://schemas.openxmlformats.org/officeDocument/2006/relationships/theme" Target="../theme/theme8.xml"/><Relationship Id="rId14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ags" Target="../tags/tag16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ags" Target="../tags/tag15.xml"/><Relationship Id="rId2" Type="http://schemas.openxmlformats.org/officeDocument/2006/relationships/slideLayout" Target="../slideLayouts/slideLayout51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54.xml"/><Relationship Id="rId15" Type="http://schemas.openxmlformats.org/officeDocument/2006/relationships/image" Target="../media/image1.emf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oleObject" Target="../embeddings/oleObject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F2020AB-5C0B-4DD4-949A-FDA5B81223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43112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1BCECD6-182D-43AB-B440-D495A76C97D8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0" y="111125"/>
            <a:ext cx="11430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1600200"/>
            <a:ext cx="114300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2109450" y="0"/>
            <a:ext cx="82550" cy="13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1029" name="Picture 12" descr="new-idexx-color-RGB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675" y="6448425"/>
            <a:ext cx="8223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CopyrightObject"/>
          <p:cNvSpPr txBox="1">
            <a:spLocks noChangeArrowheads="1"/>
          </p:cNvSpPr>
          <p:nvPr userDrawn="1"/>
        </p:nvSpPr>
        <p:spPr bwMode="auto">
          <a:xfrm>
            <a:off x="381000" y="6410325"/>
            <a:ext cx="703738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AEBE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55919A50-225A-4A6D-9F86-56AC71668C7A}" type="slidenum">
              <a:rPr lang="en-US" altLang="en-US" sz="900">
                <a:solidFill>
                  <a:srgbClr val="929596"/>
                </a:solidFill>
                <a:cs typeface="Arial" panose="020B0604020202020204" pitchFamily="34" charset="0"/>
              </a:rPr>
              <a:pPr eaLnBrk="1" hangingPunct="1"/>
              <a:t>‹#›</a:t>
            </a:fld>
            <a:r>
              <a:rPr lang="en-US" altLang="en-US" sz="900" dirty="0">
                <a:solidFill>
                  <a:srgbClr val="929596"/>
                </a:solidFill>
                <a:cs typeface="Arial" panose="020B0604020202020204" pitchFamily="34" charset="0"/>
              </a:rPr>
              <a:t>	© 2020 IDEXX Laboratories, Inc. All rights reserved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59" r:id="rId2"/>
    <p:sldLayoutId id="2147483719" r:id="rId3"/>
    <p:sldLayoutId id="2147483714" r:id="rId4"/>
    <p:sldLayoutId id="2147483722" r:id="rId5"/>
    <p:sldLayoutId id="2147483758" r:id="rId6"/>
    <p:sldLayoutId id="2147483721" r:id="rId7"/>
    <p:sldLayoutId id="2147483725" r:id="rId8"/>
  </p:sldLayoutIdLst>
  <p:transition>
    <p:fade/>
  </p:transition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accent4"/>
          </a:solidFill>
          <a:latin typeface="Arial"/>
          <a:ea typeface="+mj-ea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600" kern="1200">
          <a:solidFill>
            <a:srgbClr val="262627"/>
          </a:solidFill>
          <a:latin typeface="Arial"/>
          <a:ea typeface="+mn-ea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400" kern="1200">
          <a:solidFill>
            <a:srgbClr val="262627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C283C-98AB-4034-A60B-35A3A8107A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1"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C283C-98AB-4034-A60B-35A3A8107A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AA1AE49-2F9D-4C2B-B9AF-FEF1338BDCB5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0" y="111125"/>
            <a:ext cx="11430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1600200"/>
            <a:ext cx="114300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2109450" y="0"/>
            <a:ext cx="82550" cy="13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029" name="Picture 12" descr="new-idexx-color-RGB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675" y="6448425"/>
            <a:ext cx="8223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CopyrightObject"/>
          <p:cNvSpPr txBox="1">
            <a:spLocks noChangeArrowheads="1"/>
          </p:cNvSpPr>
          <p:nvPr userDrawn="1"/>
        </p:nvSpPr>
        <p:spPr bwMode="auto">
          <a:xfrm>
            <a:off x="381000" y="6410325"/>
            <a:ext cx="703738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AEBE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55919A50-225A-4A6D-9F86-56AC71668C7A}" type="slidenum">
              <a:rPr lang="en-US" altLang="en-US" sz="900">
                <a:solidFill>
                  <a:srgbClr val="929596"/>
                </a:solidFill>
                <a:cs typeface="Arial" panose="020B0604020202020204" pitchFamily="34" charset="0"/>
              </a:rPr>
              <a:pPr eaLnBrk="1" hangingPunct="1"/>
              <a:t>‹#›</a:t>
            </a:fld>
            <a:r>
              <a:rPr lang="en-US" altLang="en-US" sz="900">
                <a:solidFill>
                  <a:srgbClr val="929596"/>
                </a:solidFill>
                <a:cs typeface="Arial" panose="020B0604020202020204" pitchFamily="34" charset="0"/>
              </a:rPr>
              <a:t>	© 2020 IDEXX Laboratorie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92268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</p:sldLayoutIdLst>
  <p:transition>
    <p:fade/>
  </p:transition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accent4"/>
          </a:solidFill>
          <a:latin typeface="Arial"/>
          <a:ea typeface="+mj-ea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600" kern="1200">
          <a:solidFill>
            <a:srgbClr val="262627"/>
          </a:solidFill>
          <a:latin typeface="Arial"/>
          <a:ea typeface="+mn-ea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400" kern="1200">
          <a:solidFill>
            <a:srgbClr val="262627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2D12328-C8FC-4045-B664-5972F13E5D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88283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5"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2D12328-C8FC-4045-B664-5972F13E5D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B19CB4A-CB2C-43F3-94F9-4F164E0CEFC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111125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2090401" y="0"/>
            <a:ext cx="114300" cy="13716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101" name="Picture 12" descr="new-idexx-color-RGB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10803467" y="6448426"/>
            <a:ext cx="1094317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opyrightObject">
            <a:extLst>
              <a:ext uri="{FF2B5EF4-FFF2-40B4-BE49-F238E27FC236}">
                <a16:creationId xmlns:a16="http://schemas.microsoft.com/office/drawing/2014/main" id="{6E974B7A-65CB-40BC-89B8-B83CB8762BE0}"/>
              </a:ext>
            </a:extLst>
          </p:cNvPr>
          <p:cNvSpPr txBox="1"/>
          <p:nvPr userDrawn="1"/>
        </p:nvSpPr>
        <p:spPr>
          <a:xfrm>
            <a:off x="256419" y="6409562"/>
            <a:ext cx="7036740" cy="23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EAEBEB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algn="l"/>
            <a:fld id="{598073B8-37DC-784E-B230-6F27142AC6D0}" type="slidenum">
              <a:rPr lang="en-US" sz="900" smtClean="0">
                <a:solidFill>
                  <a:schemeClr val="tx1"/>
                </a:solidFill>
                <a:latin typeface="Arial"/>
                <a:cs typeface="Arial"/>
              </a:rPr>
              <a:pPr algn="l"/>
              <a:t>‹#›</a:t>
            </a:fld>
            <a:r>
              <a:rPr lang="en-US" sz="900" baseline="0">
                <a:solidFill>
                  <a:schemeClr val="tx1"/>
                </a:solidFill>
                <a:latin typeface="Arial"/>
                <a:cs typeface="Arial"/>
              </a:rPr>
              <a:t>      </a:t>
            </a:r>
            <a:r>
              <a:rPr lang="en-US" sz="900">
                <a:solidFill>
                  <a:schemeClr val="tx1"/>
                </a:solidFill>
                <a:latin typeface="Arial"/>
                <a:cs typeface="Arial"/>
              </a:rPr>
              <a:t>© 2020 IDEXX Laboratorie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095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7" r:id="rId8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87D63FB-7076-44A8-9630-004031015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75287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5"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6068BC-21B1-4826-A354-0F8A28C9077D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0" y="111125"/>
            <a:ext cx="11430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1600200"/>
            <a:ext cx="114300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2109450" y="0"/>
            <a:ext cx="82550" cy="13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1029" name="Picture 12" descr="new-idexx-color-RGB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675" y="6448425"/>
            <a:ext cx="8223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CopyrightObject"/>
          <p:cNvSpPr txBox="1">
            <a:spLocks noChangeArrowheads="1"/>
          </p:cNvSpPr>
          <p:nvPr userDrawn="1"/>
        </p:nvSpPr>
        <p:spPr bwMode="auto">
          <a:xfrm>
            <a:off x="381000" y="6410325"/>
            <a:ext cx="703738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AEBE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55919A50-225A-4A6D-9F86-56AC71668C7A}" type="slidenum">
              <a:rPr lang="en-US" altLang="en-US" sz="900">
                <a:solidFill>
                  <a:srgbClr val="929596"/>
                </a:solidFill>
                <a:cs typeface="Arial" panose="020B0604020202020204" pitchFamily="34" charset="0"/>
              </a:rPr>
              <a:pPr eaLnBrk="1" hangingPunct="1"/>
              <a:t>‹#›</a:t>
            </a:fld>
            <a:r>
              <a:rPr lang="en-US" altLang="en-US" sz="900" dirty="0">
                <a:solidFill>
                  <a:srgbClr val="929596"/>
                </a:solidFill>
                <a:cs typeface="Arial" panose="020B0604020202020204" pitchFamily="34" charset="0"/>
              </a:rPr>
              <a:t>	© 2020 IDEXX Laboratorie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14765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</p:sldLayoutIdLst>
  <p:transition>
    <p:fade/>
  </p:transition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accent4"/>
          </a:solidFill>
          <a:latin typeface="Arial"/>
          <a:ea typeface="+mj-ea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600" kern="1200">
          <a:solidFill>
            <a:srgbClr val="262627"/>
          </a:solidFill>
          <a:latin typeface="Arial"/>
          <a:ea typeface="+mn-ea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400" kern="1200">
          <a:solidFill>
            <a:srgbClr val="262627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6ED31B-73EA-4365-B0EC-27AEE111FF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20618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4" name="think-cell Slide" r:id="rId13" imgW="425" imgH="424" progId="TCLayout.ActiveDocument.1">
                  <p:embed/>
                </p:oleObj>
              </mc:Choice>
              <mc:Fallback>
                <p:oleObj name="think-cell Slide" r:id="rId1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6ED31B-73EA-4365-B0EC-27AEE111FF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66CBE0-B2B5-4CFA-B895-E3CEC21C131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0" y="111125"/>
            <a:ext cx="11430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1600200"/>
            <a:ext cx="114300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2109450" y="0"/>
            <a:ext cx="82550" cy="13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029" name="Picture 12" descr="new-idexx-color-RGB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675" y="6448425"/>
            <a:ext cx="8223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CopyrightObject"/>
          <p:cNvSpPr txBox="1">
            <a:spLocks noChangeArrowheads="1"/>
          </p:cNvSpPr>
          <p:nvPr userDrawn="1"/>
        </p:nvSpPr>
        <p:spPr bwMode="auto">
          <a:xfrm>
            <a:off x="381000" y="6410325"/>
            <a:ext cx="703738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AEBE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55919A50-225A-4A6D-9F86-56AC71668C7A}" type="slidenum">
              <a:rPr lang="en-US" altLang="en-US" sz="900">
                <a:solidFill>
                  <a:srgbClr val="929596"/>
                </a:solidFill>
                <a:cs typeface="Arial" panose="020B0604020202020204" pitchFamily="34" charset="0"/>
              </a:rPr>
              <a:pPr eaLnBrk="1" hangingPunct="1"/>
              <a:t>‹#›</a:t>
            </a:fld>
            <a:r>
              <a:rPr lang="en-US" altLang="en-US" sz="900" dirty="0">
                <a:solidFill>
                  <a:srgbClr val="929596"/>
                </a:solidFill>
                <a:cs typeface="Arial" panose="020B0604020202020204" pitchFamily="34" charset="0"/>
              </a:rPr>
              <a:t>	© 2021 IDEXX Laboratorie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52254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</p:sldLayoutIdLst>
  <p:transition>
    <p:fade/>
  </p:transition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accent4"/>
          </a:solidFill>
          <a:latin typeface="Arial"/>
          <a:ea typeface="+mj-ea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600" kern="1200">
          <a:solidFill>
            <a:srgbClr val="262627"/>
          </a:solidFill>
          <a:latin typeface="Arial"/>
          <a:ea typeface="+mn-ea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400" kern="1200">
          <a:solidFill>
            <a:srgbClr val="262627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DED0376-6DD8-42EA-BEB7-5472101CBC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73807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8" name="think-cell Slide" r:id="rId7" imgW="425" imgH="424" progId="TCLayout.ActiveDocument.1">
                  <p:embed/>
                </p:oleObj>
              </mc:Choice>
              <mc:Fallback>
                <p:oleObj name="think-cell Slide" r:id="rId7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DED0376-6DD8-42EA-BEB7-5472101CB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white_dots.png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095" y="3175"/>
            <a:ext cx="833438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3499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</p:sldLayoutIdLst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F2020AB-5C0B-4DD4-949A-FDA5B81223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9844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2"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F2020AB-5C0B-4DD4-949A-FDA5B81223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1BCECD6-182D-43AB-B440-D495A76C97D8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0" y="111125"/>
            <a:ext cx="11430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1600200"/>
            <a:ext cx="114300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2109450" y="0"/>
            <a:ext cx="82550" cy="13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1029" name="Picture 12" descr="new-idexx-color-RGB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675" y="6448425"/>
            <a:ext cx="8223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CopyrightObject"/>
          <p:cNvSpPr txBox="1">
            <a:spLocks noChangeArrowheads="1"/>
          </p:cNvSpPr>
          <p:nvPr userDrawn="1"/>
        </p:nvSpPr>
        <p:spPr bwMode="auto">
          <a:xfrm>
            <a:off x="381000" y="6410325"/>
            <a:ext cx="703738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AEBE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55919A50-225A-4A6D-9F86-56AC71668C7A}" type="slidenum">
              <a:rPr lang="en-US" altLang="en-US" sz="900">
                <a:solidFill>
                  <a:srgbClr val="929596"/>
                </a:solidFill>
                <a:cs typeface="Arial" panose="020B0604020202020204" pitchFamily="34" charset="0"/>
              </a:rPr>
              <a:pPr eaLnBrk="1" hangingPunct="1"/>
              <a:t>‹#›</a:t>
            </a:fld>
            <a:r>
              <a:rPr lang="en-US" altLang="en-US" sz="900" dirty="0">
                <a:solidFill>
                  <a:srgbClr val="929596"/>
                </a:solidFill>
                <a:cs typeface="Arial" panose="020B0604020202020204" pitchFamily="34" charset="0"/>
              </a:rPr>
              <a:t>	© 2020 IDEXX Laboratorie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87649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</p:sldLayoutIdLst>
  <p:transition>
    <p:fade/>
  </p:transition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accent4"/>
          </a:solidFill>
          <a:latin typeface="Arial"/>
          <a:ea typeface="+mj-ea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600" kern="1200">
          <a:solidFill>
            <a:srgbClr val="262627"/>
          </a:solidFill>
          <a:latin typeface="Arial"/>
          <a:ea typeface="+mn-ea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400" kern="1200">
          <a:solidFill>
            <a:srgbClr val="262627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6ED31B-73EA-4365-B0EC-27AEE111FF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65246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1" name="think-cell Slide" r:id="rId13" imgW="425" imgH="424" progId="TCLayout.ActiveDocument.1">
                  <p:embed/>
                </p:oleObj>
              </mc:Choice>
              <mc:Fallback>
                <p:oleObj name="think-cell Slide" r:id="rId1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6ED31B-73EA-4365-B0EC-27AEE111FF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66CBE0-B2B5-4CFA-B895-E3CEC21C131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0" y="111125"/>
            <a:ext cx="11430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1600200"/>
            <a:ext cx="114300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2109450" y="0"/>
            <a:ext cx="82550" cy="13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029" name="Picture 12" descr="new-idexx-color-RGB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675" y="6448425"/>
            <a:ext cx="8223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CopyrightObject"/>
          <p:cNvSpPr txBox="1">
            <a:spLocks noChangeArrowheads="1"/>
          </p:cNvSpPr>
          <p:nvPr userDrawn="1"/>
        </p:nvSpPr>
        <p:spPr bwMode="auto">
          <a:xfrm>
            <a:off x="381000" y="6410325"/>
            <a:ext cx="703738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AEBE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55919A50-225A-4A6D-9F86-56AC71668C7A}" type="slidenum">
              <a:rPr lang="en-US" altLang="en-US" sz="900">
                <a:solidFill>
                  <a:srgbClr val="929596"/>
                </a:solidFill>
                <a:cs typeface="Arial" panose="020B0604020202020204" pitchFamily="34" charset="0"/>
              </a:rPr>
              <a:pPr eaLnBrk="1" hangingPunct="1"/>
              <a:t>‹#›</a:t>
            </a:fld>
            <a:r>
              <a:rPr lang="en-US" altLang="en-US" sz="900" dirty="0">
                <a:solidFill>
                  <a:srgbClr val="929596"/>
                </a:solidFill>
                <a:cs typeface="Arial" panose="020B0604020202020204" pitchFamily="34" charset="0"/>
              </a:rPr>
              <a:t>	© 2021 IDEXX Laboratorie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05217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</p:sldLayoutIdLst>
  <p:transition>
    <p:fade/>
  </p:transition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accent4"/>
          </a:solidFill>
          <a:latin typeface="Arial"/>
          <a:ea typeface="+mj-ea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600" kern="1200">
          <a:solidFill>
            <a:srgbClr val="262627"/>
          </a:solidFill>
          <a:latin typeface="Arial"/>
          <a:ea typeface="+mn-ea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400" kern="1200">
          <a:solidFill>
            <a:srgbClr val="262627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6ED31B-73EA-4365-B0EC-27AEE111FF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30053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1" name="think-cell Slide" r:id="rId13" imgW="425" imgH="424" progId="TCLayout.ActiveDocument.1">
                  <p:embed/>
                </p:oleObj>
              </mc:Choice>
              <mc:Fallback>
                <p:oleObj name="think-cell Slide" r:id="rId1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6ED31B-73EA-4365-B0EC-27AEE111FF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66CBE0-B2B5-4CFA-B895-E3CEC21C131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0" y="111125"/>
            <a:ext cx="11430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1600200"/>
            <a:ext cx="114300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2109450" y="0"/>
            <a:ext cx="82550" cy="13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029" name="Picture 12" descr="new-idexx-color-RGB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675" y="6448425"/>
            <a:ext cx="8223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CopyrightObject"/>
          <p:cNvSpPr txBox="1">
            <a:spLocks noChangeArrowheads="1"/>
          </p:cNvSpPr>
          <p:nvPr userDrawn="1"/>
        </p:nvSpPr>
        <p:spPr bwMode="auto">
          <a:xfrm>
            <a:off x="381000" y="6410325"/>
            <a:ext cx="703738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AEBE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55919A50-225A-4A6D-9F86-56AC71668C7A}" type="slidenum">
              <a:rPr lang="en-US" altLang="en-US" sz="900">
                <a:solidFill>
                  <a:srgbClr val="929596"/>
                </a:solidFill>
                <a:cs typeface="Arial" panose="020B0604020202020204" pitchFamily="34" charset="0"/>
              </a:rPr>
              <a:pPr eaLnBrk="1" hangingPunct="1"/>
              <a:t>‹#›</a:t>
            </a:fld>
            <a:r>
              <a:rPr lang="en-US" altLang="en-US" sz="900" dirty="0">
                <a:solidFill>
                  <a:srgbClr val="929596"/>
                </a:solidFill>
                <a:cs typeface="Arial" panose="020B0604020202020204" pitchFamily="34" charset="0"/>
              </a:rPr>
              <a:t>	© 2021 IDEXX Laboratorie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13171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</p:sldLayoutIdLst>
  <p:transition>
    <p:fade/>
  </p:transition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accent4"/>
          </a:solidFill>
          <a:latin typeface="Arial"/>
          <a:ea typeface="+mj-ea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600" kern="1200">
          <a:solidFill>
            <a:srgbClr val="262627"/>
          </a:solidFill>
          <a:latin typeface="Arial"/>
          <a:ea typeface="+mn-ea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400" kern="1200">
          <a:solidFill>
            <a:srgbClr val="262627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6ED31B-73EA-4365-B0EC-27AEE111FF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45102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5" name="think-cell Slide" r:id="rId13" imgW="425" imgH="424" progId="TCLayout.ActiveDocument.1">
                  <p:embed/>
                </p:oleObj>
              </mc:Choice>
              <mc:Fallback>
                <p:oleObj name="think-cell Slide" r:id="rId1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6ED31B-73EA-4365-B0EC-27AEE111FF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66CBE0-B2B5-4CFA-B895-E3CEC21C131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0" y="111125"/>
            <a:ext cx="11430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1600200"/>
            <a:ext cx="114300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2109450" y="0"/>
            <a:ext cx="82550" cy="13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029" name="Picture 12" descr="new-idexx-color-RGB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675" y="6448425"/>
            <a:ext cx="8223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CopyrightObject"/>
          <p:cNvSpPr txBox="1">
            <a:spLocks noChangeArrowheads="1"/>
          </p:cNvSpPr>
          <p:nvPr userDrawn="1"/>
        </p:nvSpPr>
        <p:spPr bwMode="auto">
          <a:xfrm>
            <a:off x="381000" y="6410325"/>
            <a:ext cx="703738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AEBE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55919A50-225A-4A6D-9F86-56AC71668C7A}" type="slidenum">
              <a:rPr lang="en-US" altLang="en-US" sz="900">
                <a:solidFill>
                  <a:srgbClr val="929596"/>
                </a:solidFill>
                <a:cs typeface="Arial" panose="020B0604020202020204" pitchFamily="34" charset="0"/>
              </a:rPr>
              <a:pPr eaLnBrk="1" hangingPunct="1"/>
              <a:t>‹#›</a:t>
            </a:fld>
            <a:r>
              <a:rPr lang="en-US" altLang="en-US" sz="900" dirty="0">
                <a:solidFill>
                  <a:srgbClr val="929596"/>
                </a:solidFill>
                <a:cs typeface="Arial" panose="020B0604020202020204" pitchFamily="34" charset="0"/>
              </a:rPr>
              <a:t>	© 2021 IDEXX Laboratorie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00358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</p:sldLayoutIdLst>
  <p:transition>
    <p:fade/>
  </p:transition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accent4"/>
          </a:solidFill>
          <a:latin typeface="Arial"/>
          <a:ea typeface="+mj-ea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600" kern="1200">
          <a:solidFill>
            <a:srgbClr val="262627"/>
          </a:solidFill>
          <a:latin typeface="Arial"/>
          <a:ea typeface="+mn-ea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400" kern="1200">
          <a:solidFill>
            <a:srgbClr val="262627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BA1C17-DF67-4C64-8BAF-E6F3F56C12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16964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white_dots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45648" y="3175"/>
            <a:ext cx="828675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ounded Rectangle 10">
            <a:extLst>
              <a:ext uri="{FF2B5EF4-FFF2-40B4-BE49-F238E27FC236}">
                <a16:creationId xmlns:a16="http://schemas.microsoft.com/office/drawing/2014/main" id="{14D9D639-D853-6E43-AD3D-44F905BE7367}"/>
              </a:ext>
            </a:extLst>
          </p:cNvPr>
          <p:cNvSpPr/>
          <p:nvPr userDrawn="1"/>
        </p:nvSpPr>
        <p:spPr bwMode="ltGray">
          <a:xfrm>
            <a:off x="385763" y="4645152"/>
            <a:ext cx="11806237" cy="1539748"/>
          </a:xfrm>
          <a:prstGeom prst="roundRect">
            <a:avLst>
              <a:gd name="adj" fmla="val 3574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A90781F-0706-2641-8C11-D41810C205F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7839" y="5295280"/>
            <a:ext cx="1304925" cy="23949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045D105-44AF-7343-91D0-852420CC386B}"/>
              </a:ext>
            </a:extLst>
          </p:cNvPr>
          <p:cNvSpPr/>
          <p:nvPr userDrawn="1"/>
        </p:nvSpPr>
        <p:spPr bwMode="auto">
          <a:xfrm>
            <a:off x="12074323" y="4645152"/>
            <a:ext cx="117677" cy="1539748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831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</p:sldLayoutIdLst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89B78E8-81FA-45AC-9DA4-9404B68F56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681452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1"/>
          <p:cNvSpPr/>
          <p:nvPr userDrawn="1"/>
        </p:nvSpPr>
        <p:spPr bwMode="ltGray">
          <a:xfrm flipV="1">
            <a:off x="0" y="0"/>
            <a:ext cx="1525588" cy="6858000"/>
          </a:xfrm>
          <a:custGeom>
            <a:avLst/>
            <a:gdLst>
              <a:gd name="connsiteX0" fmla="*/ 0 w 1140178"/>
              <a:gd name="connsiteY0" fmla="*/ 0 h 6858000"/>
              <a:gd name="connsiteX1" fmla="*/ 1140178 w 1140178"/>
              <a:gd name="connsiteY1" fmla="*/ 0 h 6858000"/>
              <a:gd name="connsiteX2" fmla="*/ 1140178 w 1140178"/>
              <a:gd name="connsiteY2" fmla="*/ 6858000 h 6858000"/>
              <a:gd name="connsiteX3" fmla="*/ 0 w 1140178"/>
              <a:gd name="connsiteY3" fmla="*/ 6858000 h 6858000"/>
              <a:gd name="connsiteX4" fmla="*/ 0 w 1140178"/>
              <a:gd name="connsiteY4" fmla="*/ 0 h 6858000"/>
              <a:gd name="connsiteX0" fmla="*/ 0 w 1140178"/>
              <a:gd name="connsiteY0" fmla="*/ 0 h 6858000"/>
              <a:gd name="connsiteX1" fmla="*/ 1140178 w 1140178"/>
              <a:gd name="connsiteY1" fmla="*/ 0 h 6858000"/>
              <a:gd name="connsiteX2" fmla="*/ 1140178 w 1140178"/>
              <a:gd name="connsiteY2" fmla="*/ 6858000 h 6858000"/>
              <a:gd name="connsiteX3" fmla="*/ 0 w 1140178"/>
              <a:gd name="connsiteY3" fmla="*/ 6858000 h 6858000"/>
              <a:gd name="connsiteX4" fmla="*/ 0 w 1140178"/>
              <a:gd name="connsiteY4" fmla="*/ 0 h 6858000"/>
              <a:gd name="connsiteX0" fmla="*/ 0 w 1140178"/>
              <a:gd name="connsiteY0" fmla="*/ 0 h 6858000"/>
              <a:gd name="connsiteX1" fmla="*/ 1140178 w 1140178"/>
              <a:gd name="connsiteY1" fmla="*/ 0 h 6858000"/>
              <a:gd name="connsiteX2" fmla="*/ 1140178 w 1140178"/>
              <a:gd name="connsiteY2" fmla="*/ 6858000 h 6858000"/>
              <a:gd name="connsiteX3" fmla="*/ 0 w 1140178"/>
              <a:gd name="connsiteY3" fmla="*/ 6858000 h 6858000"/>
              <a:gd name="connsiteX4" fmla="*/ 0 w 1140178"/>
              <a:gd name="connsiteY4" fmla="*/ 0 h 6858000"/>
              <a:gd name="connsiteX0" fmla="*/ 0 w 1140178"/>
              <a:gd name="connsiteY0" fmla="*/ 0 h 6858000"/>
              <a:gd name="connsiteX1" fmla="*/ 1140178 w 1140178"/>
              <a:gd name="connsiteY1" fmla="*/ 0 h 6858000"/>
              <a:gd name="connsiteX2" fmla="*/ 1140178 w 1140178"/>
              <a:gd name="connsiteY2" fmla="*/ 6858000 h 6858000"/>
              <a:gd name="connsiteX3" fmla="*/ 0 w 1140178"/>
              <a:gd name="connsiteY3" fmla="*/ 6858000 h 6858000"/>
              <a:gd name="connsiteX4" fmla="*/ 0 w 1140178"/>
              <a:gd name="connsiteY4" fmla="*/ 0 h 6858000"/>
              <a:gd name="connsiteX0" fmla="*/ 0 w 1140178"/>
              <a:gd name="connsiteY0" fmla="*/ 0 h 6858000"/>
              <a:gd name="connsiteX1" fmla="*/ 999067 w 1140178"/>
              <a:gd name="connsiteY1" fmla="*/ 0 h 6858000"/>
              <a:gd name="connsiteX2" fmla="*/ 1140178 w 1140178"/>
              <a:gd name="connsiteY2" fmla="*/ 6858000 h 6858000"/>
              <a:gd name="connsiteX3" fmla="*/ 0 w 1140178"/>
              <a:gd name="connsiteY3" fmla="*/ 6858000 h 6858000"/>
              <a:gd name="connsiteX4" fmla="*/ 0 w 1140178"/>
              <a:gd name="connsiteY4" fmla="*/ 0 h 6858000"/>
              <a:gd name="connsiteX0" fmla="*/ 0 w 1140178"/>
              <a:gd name="connsiteY0" fmla="*/ 0 h 6858000"/>
              <a:gd name="connsiteX1" fmla="*/ 999067 w 1140178"/>
              <a:gd name="connsiteY1" fmla="*/ 0 h 6858000"/>
              <a:gd name="connsiteX2" fmla="*/ 1140178 w 1140178"/>
              <a:gd name="connsiteY2" fmla="*/ 6858000 h 6858000"/>
              <a:gd name="connsiteX3" fmla="*/ 0 w 1140178"/>
              <a:gd name="connsiteY3" fmla="*/ 6858000 h 6858000"/>
              <a:gd name="connsiteX4" fmla="*/ 0 w 1140178"/>
              <a:gd name="connsiteY4" fmla="*/ 0 h 6858000"/>
              <a:gd name="connsiteX0" fmla="*/ 0 w 1140178"/>
              <a:gd name="connsiteY0" fmla="*/ 0 h 6858000"/>
              <a:gd name="connsiteX1" fmla="*/ 914400 w 1140178"/>
              <a:gd name="connsiteY1" fmla="*/ 0 h 6858000"/>
              <a:gd name="connsiteX2" fmla="*/ 1140178 w 1140178"/>
              <a:gd name="connsiteY2" fmla="*/ 6858000 h 6858000"/>
              <a:gd name="connsiteX3" fmla="*/ 0 w 1140178"/>
              <a:gd name="connsiteY3" fmla="*/ 6858000 h 6858000"/>
              <a:gd name="connsiteX4" fmla="*/ 0 w 1140178"/>
              <a:gd name="connsiteY4" fmla="*/ 0 h 6858000"/>
              <a:gd name="connsiteX0" fmla="*/ 0 w 1140178"/>
              <a:gd name="connsiteY0" fmla="*/ 0 h 6858000"/>
              <a:gd name="connsiteX1" fmla="*/ 914400 w 1140178"/>
              <a:gd name="connsiteY1" fmla="*/ 0 h 6858000"/>
              <a:gd name="connsiteX2" fmla="*/ 1140178 w 1140178"/>
              <a:gd name="connsiteY2" fmla="*/ 6858000 h 6858000"/>
              <a:gd name="connsiteX3" fmla="*/ 0 w 1140178"/>
              <a:gd name="connsiteY3" fmla="*/ 6858000 h 6858000"/>
              <a:gd name="connsiteX4" fmla="*/ 0 w 1140178"/>
              <a:gd name="connsiteY4" fmla="*/ 0 h 6858000"/>
              <a:gd name="connsiteX0" fmla="*/ 0 w 1140178"/>
              <a:gd name="connsiteY0" fmla="*/ 0 h 6858000"/>
              <a:gd name="connsiteX1" fmla="*/ 914400 w 1140178"/>
              <a:gd name="connsiteY1" fmla="*/ 0 h 6858000"/>
              <a:gd name="connsiteX2" fmla="*/ 1140178 w 1140178"/>
              <a:gd name="connsiteY2" fmla="*/ 6858000 h 6858000"/>
              <a:gd name="connsiteX3" fmla="*/ 0 w 1140178"/>
              <a:gd name="connsiteY3" fmla="*/ 6858000 h 6858000"/>
              <a:gd name="connsiteX4" fmla="*/ 0 w 1140178"/>
              <a:gd name="connsiteY4" fmla="*/ 0 h 6858000"/>
              <a:gd name="connsiteX0" fmla="*/ 0 w 1470454"/>
              <a:gd name="connsiteY0" fmla="*/ 6865 h 6864865"/>
              <a:gd name="connsiteX1" fmla="*/ 1470454 w 1470454"/>
              <a:gd name="connsiteY1" fmla="*/ 0 h 6864865"/>
              <a:gd name="connsiteX2" fmla="*/ 1140178 w 1470454"/>
              <a:gd name="connsiteY2" fmla="*/ 6864865 h 6864865"/>
              <a:gd name="connsiteX3" fmla="*/ 0 w 1470454"/>
              <a:gd name="connsiteY3" fmla="*/ 6864865 h 6864865"/>
              <a:gd name="connsiteX4" fmla="*/ 0 w 1470454"/>
              <a:gd name="connsiteY4" fmla="*/ 6865 h 6864865"/>
              <a:gd name="connsiteX0" fmla="*/ 0 w 1517746"/>
              <a:gd name="connsiteY0" fmla="*/ 6865 h 6864865"/>
              <a:gd name="connsiteX1" fmla="*/ 1470454 w 1517746"/>
              <a:gd name="connsiteY1" fmla="*/ 0 h 6864865"/>
              <a:gd name="connsiteX2" fmla="*/ 1517746 w 1517746"/>
              <a:gd name="connsiteY2" fmla="*/ 6864865 h 6864865"/>
              <a:gd name="connsiteX3" fmla="*/ 0 w 1517746"/>
              <a:gd name="connsiteY3" fmla="*/ 6864865 h 6864865"/>
              <a:gd name="connsiteX4" fmla="*/ 0 w 1517746"/>
              <a:gd name="connsiteY4" fmla="*/ 6865 h 6864865"/>
              <a:gd name="connsiteX0" fmla="*/ 0 w 1517746"/>
              <a:gd name="connsiteY0" fmla="*/ 6865 h 6864865"/>
              <a:gd name="connsiteX1" fmla="*/ 1470454 w 1517746"/>
              <a:gd name="connsiteY1" fmla="*/ 0 h 6864865"/>
              <a:gd name="connsiteX2" fmla="*/ 1517746 w 1517746"/>
              <a:gd name="connsiteY2" fmla="*/ 6864865 h 6864865"/>
              <a:gd name="connsiteX3" fmla="*/ 0 w 1517746"/>
              <a:gd name="connsiteY3" fmla="*/ 6864865 h 6864865"/>
              <a:gd name="connsiteX4" fmla="*/ 0 w 1517746"/>
              <a:gd name="connsiteY4" fmla="*/ 6865 h 6864865"/>
              <a:gd name="connsiteX0" fmla="*/ 0 w 1517746"/>
              <a:gd name="connsiteY0" fmla="*/ 6865 h 6864865"/>
              <a:gd name="connsiteX1" fmla="*/ 1470454 w 1517746"/>
              <a:gd name="connsiteY1" fmla="*/ 0 h 6864865"/>
              <a:gd name="connsiteX2" fmla="*/ 1517746 w 1517746"/>
              <a:gd name="connsiteY2" fmla="*/ 6864865 h 6864865"/>
              <a:gd name="connsiteX3" fmla="*/ 0 w 1517746"/>
              <a:gd name="connsiteY3" fmla="*/ 6864865 h 6864865"/>
              <a:gd name="connsiteX4" fmla="*/ 0 w 1517746"/>
              <a:gd name="connsiteY4" fmla="*/ 6865 h 6864865"/>
              <a:gd name="connsiteX0" fmla="*/ 0 w 1517746"/>
              <a:gd name="connsiteY0" fmla="*/ 13730 h 6871730"/>
              <a:gd name="connsiteX1" fmla="*/ 1127211 w 1517746"/>
              <a:gd name="connsiteY1" fmla="*/ 0 h 6871730"/>
              <a:gd name="connsiteX2" fmla="*/ 1517746 w 1517746"/>
              <a:gd name="connsiteY2" fmla="*/ 6871730 h 6871730"/>
              <a:gd name="connsiteX3" fmla="*/ 0 w 1517746"/>
              <a:gd name="connsiteY3" fmla="*/ 6871730 h 6871730"/>
              <a:gd name="connsiteX4" fmla="*/ 0 w 1517746"/>
              <a:gd name="connsiteY4" fmla="*/ 13730 h 6871730"/>
              <a:gd name="connsiteX0" fmla="*/ 0 w 1517746"/>
              <a:gd name="connsiteY0" fmla="*/ 13730 h 6871730"/>
              <a:gd name="connsiteX1" fmla="*/ 1271373 w 1517746"/>
              <a:gd name="connsiteY1" fmla="*/ 0 h 6871730"/>
              <a:gd name="connsiteX2" fmla="*/ 1517746 w 1517746"/>
              <a:gd name="connsiteY2" fmla="*/ 6871730 h 6871730"/>
              <a:gd name="connsiteX3" fmla="*/ 0 w 1517746"/>
              <a:gd name="connsiteY3" fmla="*/ 6871730 h 6871730"/>
              <a:gd name="connsiteX4" fmla="*/ 0 w 1517746"/>
              <a:gd name="connsiteY4" fmla="*/ 13730 h 6871730"/>
              <a:gd name="connsiteX0" fmla="*/ 0 w 1881584"/>
              <a:gd name="connsiteY0" fmla="*/ 13730 h 6871730"/>
              <a:gd name="connsiteX1" fmla="*/ 1271373 w 1881584"/>
              <a:gd name="connsiteY1" fmla="*/ 0 h 6871730"/>
              <a:gd name="connsiteX2" fmla="*/ 1881584 w 1881584"/>
              <a:gd name="connsiteY2" fmla="*/ 6864865 h 6871730"/>
              <a:gd name="connsiteX3" fmla="*/ 0 w 1881584"/>
              <a:gd name="connsiteY3" fmla="*/ 6871730 h 6871730"/>
              <a:gd name="connsiteX4" fmla="*/ 0 w 1881584"/>
              <a:gd name="connsiteY4" fmla="*/ 13730 h 6871730"/>
              <a:gd name="connsiteX0" fmla="*/ 0 w 1881584"/>
              <a:gd name="connsiteY0" fmla="*/ 13730 h 6871730"/>
              <a:gd name="connsiteX1" fmla="*/ 1271373 w 1881584"/>
              <a:gd name="connsiteY1" fmla="*/ 0 h 6871730"/>
              <a:gd name="connsiteX2" fmla="*/ 1881584 w 1881584"/>
              <a:gd name="connsiteY2" fmla="*/ 6871730 h 6871730"/>
              <a:gd name="connsiteX3" fmla="*/ 0 w 1881584"/>
              <a:gd name="connsiteY3" fmla="*/ 6871730 h 6871730"/>
              <a:gd name="connsiteX4" fmla="*/ 0 w 1881584"/>
              <a:gd name="connsiteY4" fmla="*/ 13730 h 6871730"/>
              <a:gd name="connsiteX0" fmla="*/ 0 w 1881584"/>
              <a:gd name="connsiteY0" fmla="*/ 13730 h 6871730"/>
              <a:gd name="connsiteX1" fmla="*/ 1271373 w 1881584"/>
              <a:gd name="connsiteY1" fmla="*/ 0 h 6871730"/>
              <a:gd name="connsiteX2" fmla="*/ 1881584 w 1881584"/>
              <a:gd name="connsiteY2" fmla="*/ 6871730 h 6871730"/>
              <a:gd name="connsiteX3" fmla="*/ 0 w 1881584"/>
              <a:gd name="connsiteY3" fmla="*/ 6871730 h 6871730"/>
              <a:gd name="connsiteX4" fmla="*/ 0 w 1881584"/>
              <a:gd name="connsiteY4" fmla="*/ 13730 h 6871730"/>
              <a:gd name="connsiteX0" fmla="*/ 0 w 1881584"/>
              <a:gd name="connsiteY0" fmla="*/ 13730 h 6871730"/>
              <a:gd name="connsiteX1" fmla="*/ 1271373 w 1881584"/>
              <a:gd name="connsiteY1" fmla="*/ 0 h 6871730"/>
              <a:gd name="connsiteX2" fmla="*/ 1881584 w 1881584"/>
              <a:gd name="connsiteY2" fmla="*/ 6871730 h 6871730"/>
              <a:gd name="connsiteX3" fmla="*/ 0 w 1881584"/>
              <a:gd name="connsiteY3" fmla="*/ 6871730 h 6871730"/>
              <a:gd name="connsiteX4" fmla="*/ 0 w 1881584"/>
              <a:gd name="connsiteY4" fmla="*/ 13730 h 6871730"/>
              <a:gd name="connsiteX0" fmla="*/ 0 w 1881584"/>
              <a:gd name="connsiteY0" fmla="*/ 13730 h 6871730"/>
              <a:gd name="connsiteX1" fmla="*/ 1271373 w 1881584"/>
              <a:gd name="connsiteY1" fmla="*/ 0 h 6871730"/>
              <a:gd name="connsiteX2" fmla="*/ 1881584 w 1881584"/>
              <a:gd name="connsiteY2" fmla="*/ 6871730 h 6871730"/>
              <a:gd name="connsiteX3" fmla="*/ 0 w 1881584"/>
              <a:gd name="connsiteY3" fmla="*/ 6871730 h 6871730"/>
              <a:gd name="connsiteX4" fmla="*/ 0 w 1881584"/>
              <a:gd name="connsiteY4" fmla="*/ 13730 h 6871730"/>
              <a:gd name="connsiteX0" fmla="*/ 0 w 1881584"/>
              <a:gd name="connsiteY0" fmla="*/ 13730 h 6871730"/>
              <a:gd name="connsiteX1" fmla="*/ 1271373 w 1881584"/>
              <a:gd name="connsiteY1" fmla="*/ 0 h 6871730"/>
              <a:gd name="connsiteX2" fmla="*/ 1881584 w 1881584"/>
              <a:gd name="connsiteY2" fmla="*/ 6871730 h 6871730"/>
              <a:gd name="connsiteX3" fmla="*/ 0 w 1881584"/>
              <a:gd name="connsiteY3" fmla="*/ 6871730 h 6871730"/>
              <a:gd name="connsiteX4" fmla="*/ 0 w 1881584"/>
              <a:gd name="connsiteY4" fmla="*/ 13730 h 6871730"/>
              <a:gd name="connsiteX0" fmla="*/ 0 w 1881584"/>
              <a:gd name="connsiteY0" fmla="*/ 13730 h 6871730"/>
              <a:gd name="connsiteX1" fmla="*/ 1271373 w 1881584"/>
              <a:gd name="connsiteY1" fmla="*/ 0 h 6871730"/>
              <a:gd name="connsiteX2" fmla="*/ 1881584 w 1881584"/>
              <a:gd name="connsiteY2" fmla="*/ 6871730 h 6871730"/>
              <a:gd name="connsiteX3" fmla="*/ 0 w 1881584"/>
              <a:gd name="connsiteY3" fmla="*/ 6871730 h 6871730"/>
              <a:gd name="connsiteX4" fmla="*/ 0 w 1881584"/>
              <a:gd name="connsiteY4" fmla="*/ 13730 h 6871730"/>
              <a:gd name="connsiteX0" fmla="*/ 0 w 1881584"/>
              <a:gd name="connsiteY0" fmla="*/ 13730 h 6871730"/>
              <a:gd name="connsiteX1" fmla="*/ 1271373 w 1881584"/>
              <a:gd name="connsiteY1" fmla="*/ 0 h 6871730"/>
              <a:gd name="connsiteX2" fmla="*/ 1881584 w 1881584"/>
              <a:gd name="connsiteY2" fmla="*/ 6871730 h 6871730"/>
              <a:gd name="connsiteX3" fmla="*/ 0 w 1881584"/>
              <a:gd name="connsiteY3" fmla="*/ 6871730 h 6871730"/>
              <a:gd name="connsiteX4" fmla="*/ 0 w 1881584"/>
              <a:gd name="connsiteY4" fmla="*/ 13730 h 6871730"/>
              <a:gd name="connsiteX0" fmla="*/ 0 w 1881584"/>
              <a:gd name="connsiteY0" fmla="*/ 13730 h 6871730"/>
              <a:gd name="connsiteX1" fmla="*/ 1271373 w 1881584"/>
              <a:gd name="connsiteY1" fmla="*/ 0 h 6871730"/>
              <a:gd name="connsiteX2" fmla="*/ 1881584 w 1881584"/>
              <a:gd name="connsiteY2" fmla="*/ 6871730 h 6871730"/>
              <a:gd name="connsiteX3" fmla="*/ 0 w 1881584"/>
              <a:gd name="connsiteY3" fmla="*/ 6871730 h 6871730"/>
              <a:gd name="connsiteX4" fmla="*/ 0 w 1881584"/>
              <a:gd name="connsiteY4" fmla="*/ 13730 h 6871730"/>
              <a:gd name="connsiteX0" fmla="*/ 0 w 1881584"/>
              <a:gd name="connsiteY0" fmla="*/ 13730 h 6871730"/>
              <a:gd name="connsiteX1" fmla="*/ 1271373 w 1881584"/>
              <a:gd name="connsiteY1" fmla="*/ 0 h 6871730"/>
              <a:gd name="connsiteX2" fmla="*/ 1881584 w 1881584"/>
              <a:gd name="connsiteY2" fmla="*/ 6871730 h 6871730"/>
              <a:gd name="connsiteX3" fmla="*/ 0 w 1881584"/>
              <a:gd name="connsiteY3" fmla="*/ 6871730 h 6871730"/>
              <a:gd name="connsiteX4" fmla="*/ 0 w 1881584"/>
              <a:gd name="connsiteY4" fmla="*/ 13730 h 6871730"/>
              <a:gd name="connsiteX0" fmla="*/ 0 w 1881584"/>
              <a:gd name="connsiteY0" fmla="*/ 0 h 6858000"/>
              <a:gd name="connsiteX1" fmla="*/ 1271373 w 1881584"/>
              <a:gd name="connsiteY1" fmla="*/ 5320 h 6858000"/>
              <a:gd name="connsiteX2" fmla="*/ 1881584 w 1881584"/>
              <a:gd name="connsiteY2" fmla="*/ 6858000 h 6858000"/>
              <a:gd name="connsiteX3" fmla="*/ 0 w 1881584"/>
              <a:gd name="connsiteY3" fmla="*/ 6858000 h 6858000"/>
              <a:gd name="connsiteX4" fmla="*/ 0 w 1881584"/>
              <a:gd name="connsiteY4" fmla="*/ 0 h 6858000"/>
              <a:gd name="connsiteX0" fmla="*/ 0 w 1881584"/>
              <a:gd name="connsiteY0" fmla="*/ 0 h 6858000"/>
              <a:gd name="connsiteX1" fmla="*/ 1271373 w 1881584"/>
              <a:gd name="connsiteY1" fmla="*/ 18020 h 6858000"/>
              <a:gd name="connsiteX2" fmla="*/ 1881584 w 1881584"/>
              <a:gd name="connsiteY2" fmla="*/ 6858000 h 6858000"/>
              <a:gd name="connsiteX3" fmla="*/ 0 w 1881584"/>
              <a:gd name="connsiteY3" fmla="*/ 6858000 h 6858000"/>
              <a:gd name="connsiteX4" fmla="*/ 0 w 1881584"/>
              <a:gd name="connsiteY4" fmla="*/ 0 h 6858000"/>
              <a:gd name="connsiteX0" fmla="*/ 0 w 1881584"/>
              <a:gd name="connsiteY0" fmla="*/ 0 h 6858000"/>
              <a:gd name="connsiteX1" fmla="*/ 1271373 w 1881584"/>
              <a:gd name="connsiteY1" fmla="*/ 77287 h 6858000"/>
              <a:gd name="connsiteX2" fmla="*/ 1881584 w 1881584"/>
              <a:gd name="connsiteY2" fmla="*/ 6858000 h 6858000"/>
              <a:gd name="connsiteX3" fmla="*/ 0 w 1881584"/>
              <a:gd name="connsiteY3" fmla="*/ 6858000 h 6858000"/>
              <a:gd name="connsiteX4" fmla="*/ 0 w 1881584"/>
              <a:gd name="connsiteY4" fmla="*/ 0 h 6858000"/>
              <a:gd name="connsiteX0" fmla="*/ 0 w 1881584"/>
              <a:gd name="connsiteY0" fmla="*/ 0 h 6858000"/>
              <a:gd name="connsiteX1" fmla="*/ 1271373 w 1881584"/>
              <a:gd name="connsiteY1" fmla="*/ 1087 h 6858000"/>
              <a:gd name="connsiteX2" fmla="*/ 1881584 w 1881584"/>
              <a:gd name="connsiteY2" fmla="*/ 6858000 h 6858000"/>
              <a:gd name="connsiteX3" fmla="*/ 0 w 1881584"/>
              <a:gd name="connsiteY3" fmla="*/ 6858000 h 6858000"/>
              <a:gd name="connsiteX4" fmla="*/ 0 w 1881584"/>
              <a:gd name="connsiteY4" fmla="*/ 0 h 6858000"/>
              <a:gd name="connsiteX0" fmla="*/ 0 w 1525984"/>
              <a:gd name="connsiteY0" fmla="*/ 0 h 6858000"/>
              <a:gd name="connsiteX1" fmla="*/ 1271373 w 1525984"/>
              <a:gd name="connsiteY1" fmla="*/ 1087 h 6858000"/>
              <a:gd name="connsiteX2" fmla="*/ 1525984 w 1525984"/>
              <a:gd name="connsiteY2" fmla="*/ 6858000 h 6858000"/>
              <a:gd name="connsiteX3" fmla="*/ 0 w 1525984"/>
              <a:gd name="connsiteY3" fmla="*/ 6858000 h 6858000"/>
              <a:gd name="connsiteX4" fmla="*/ 0 w 1525984"/>
              <a:gd name="connsiteY4" fmla="*/ 0 h 6858000"/>
              <a:gd name="connsiteX0" fmla="*/ 0 w 1525984"/>
              <a:gd name="connsiteY0" fmla="*/ 0 h 6858000"/>
              <a:gd name="connsiteX1" fmla="*/ 1271373 w 1525984"/>
              <a:gd name="connsiteY1" fmla="*/ 1087 h 6858000"/>
              <a:gd name="connsiteX2" fmla="*/ 1525984 w 1525984"/>
              <a:gd name="connsiteY2" fmla="*/ 6858000 h 6858000"/>
              <a:gd name="connsiteX3" fmla="*/ 0 w 1525984"/>
              <a:gd name="connsiteY3" fmla="*/ 6858000 h 6858000"/>
              <a:gd name="connsiteX4" fmla="*/ 0 w 1525984"/>
              <a:gd name="connsiteY4" fmla="*/ 0 h 6858000"/>
              <a:gd name="connsiteX0" fmla="*/ 0 w 1525984"/>
              <a:gd name="connsiteY0" fmla="*/ 0 h 6858000"/>
              <a:gd name="connsiteX1" fmla="*/ 1271373 w 1525984"/>
              <a:gd name="connsiteY1" fmla="*/ 1087 h 6858000"/>
              <a:gd name="connsiteX2" fmla="*/ 1525984 w 1525984"/>
              <a:gd name="connsiteY2" fmla="*/ 6858000 h 6858000"/>
              <a:gd name="connsiteX3" fmla="*/ 0 w 1525984"/>
              <a:gd name="connsiteY3" fmla="*/ 6858000 h 6858000"/>
              <a:gd name="connsiteX4" fmla="*/ 0 w 152598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5984" h="6858000">
                <a:moveTo>
                  <a:pt x="0" y="0"/>
                </a:moveTo>
                <a:lnTo>
                  <a:pt x="1271373" y="1087"/>
                </a:lnTo>
                <a:cubicBezTo>
                  <a:pt x="64555" y="2120424"/>
                  <a:pt x="-5262" y="4904640"/>
                  <a:pt x="1525984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4" name="Picture 3" descr="white_dots.pn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88" y="3175"/>
            <a:ext cx="828675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886" r:id="rId3"/>
  </p:sldLayoutIdLst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82B60F-ADBF-48E3-8389-6E66993345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13937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white_dots.png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095" y="3175"/>
            <a:ext cx="833438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</p:sldLayoutIdLst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C283C-98AB-4034-A60B-35A3A8107A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81773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5"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C283C-98AB-4034-A60B-35A3A8107A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AA1AE49-2F9D-4C2B-B9AF-FEF1338BDCB5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0" y="111125"/>
            <a:ext cx="11430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1600200"/>
            <a:ext cx="114300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2109450" y="0"/>
            <a:ext cx="82550" cy="13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1029" name="Picture 12" descr="new-idexx-color-RGB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675" y="6448425"/>
            <a:ext cx="8223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CopyrightObject"/>
          <p:cNvSpPr txBox="1">
            <a:spLocks noChangeArrowheads="1"/>
          </p:cNvSpPr>
          <p:nvPr userDrawn="1"/>
        </p:nvSpPr>
        <p:spPr bwMode="auto">
          <a:xfrm>
            <a:off x="381000" y="6410325"/>
            <a:ext cx="703738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AEBE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3460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55919A50-225A-4A6D-9F86-56AC71668C7A}" type="slidenum">
              <a:rPr lang="en-US" altLang="en-US" sz="900">
                <a:solidFill>
                  <a:srgbClr val="929596"/>
                </a:solidFill>
                <a:cs typeface="Arial" panose="020B0604020202020204" pitchFamily="34" charset="0"/>
              </a:rPr>
              <a:pPr eaLnBrk="1" hangingPunct="1"/>
              <a:t>‹#›</a:t>
            </a:fld>
            <a:r>
              <a:rPr lang="en-US" altLang="en-US" sz="900" dirty="0">
                <a:solidFill>
                  <a:srgbClr val="929596"/>
                </a:solidFill>
                <a:cs typeface="Arial" panose="020B0604020202020204" pitchFamily="34" charset="0"/>
              </a:rPr>
              <a:t>	© 2020 IDEXX Laboratorie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4673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</p:sldLayoutIdLst>
  <p:transition>
    <p:fade/>
  </p:transition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accent4"/>
          </a:solidFill>
          <a:latin typeface="Arial"/>
          <a:ea typeface="+mj-ea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600" kern="1200">
          <a:solidFill>
            <a:srgbClr val="262627"/>
          </a:solidFill>
          <a:latin typeface="Arial"/>
          <a:ea typeface="+mn-ea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646566"/>
        </a:buClr>
        <a:buFont typeface="Arial" panose="020B0604020202020204" pitchFamily="34" charset="0"/>
        <a:buChar char="•"/>
        <a:defRPr sz="1400" kern="1200">
          <a:solidFill>
            <a:srgbClr val="262627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2D12328-C8FC-4045-B664-5972F13E5D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82901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9"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2D12328-C8FC-4045-B664-5972F13E5D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B19CB4A-CB2C-43F3-94F9-4F164E0CEFC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111125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2090401" y="0"/>
            <a:ext cx="114300" cy="13716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101" name="Picture 12" descr="new-idexx-color-RGB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10803467" y="6448426"/>
            <a:ext cx="1094317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opyrightObject">
            <a:extLst>
              <a:ext uri="{FF2B5EF4-FFF2-40B4-BE49-F238E27FC236}">
                <a16:creationId xmlns:a16="http://schemas.microsoft.com/office/drawing/2014/main" id="{6E974B7A-65CB-40BC-89B8-B83CB8762BE0}"/>
              </a:ext>
            </a:extLst>
          </p:cNvPr>
          <p:cNvSpPr txBox="1"/>
          <p:nvPr userDrawn="1"/>
        </p:nvSpPr>
        <p:spPr>
          <a:xfrm>
            <a:off x="256419" y="6409562"/>
            <a:ext cx="7036740" cy="23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EAEBEB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algn="l"/>
            <a:fld id="{598073B8-37DC-784E-B230-6F27142AC6D0}" type="slidenum">
              <a:rPr lang="en-US" sz="900" smtClean="0">
                <a:solidFill>
                  <a:schemeClr val="tx1"/>
                </a:solidFill>
                <a:latin typeface="Arial"/>
                <a:cs typeface="Arial"/>
              </a:rPr>
              <a:pPr algn="l"/>
              <a:t>‹#›</a:t>
            </a:fld>
            <a:r>
              <a:rPr lang="en-US" sz="900" baseline="0">
                <a:solidFill>
                  <a:schemeClr val="tx1"/>
                </a:solidFill>
                <a:latin typeface="Arial"/>
                <a:cs typeface="Arial"/>
              </a:rPr>
              <a:t>      </a:t>
            </a:r>
            <a:r>
              <a:rPr lang="en-US" sz="900">
                <a:solidFill>
                  <a:schemeClr val="tx1"/>
                </a:solidFill>
                <a:latin typeface="Arial"/>
                <a:cs typeface="Arial"/>
              </a:rPr>
              <a:t>© 2020 IDEXX Laboratorie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74038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8" r:id="rId8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2D12328-C8FC-4045-B664-5972F13E5D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3"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2D12328-C8FC-4045-B664-5972F13E5D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B19CB4A-CB2C-43F3-94F9-4F164E0CEFC0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111125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2090401" y="0"/>
            <a:ext cx="114300" cy="13716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101" name="Picture 12" descr="new-idexx-color-RGB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10803467" y="6448426"/>
            <a:ext cx="1094317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opyrightObject">
            <a:extLst>
              <a:ext uri="{FF2B5EF4-FFF2-40B4-BE49-F238E27FC236}">
                <a16:creationId xmlns:a16="http://schemas.microsoft.com/office/drawing/2014/main" id="{6E974B7A-65CB-40BC-89B8-B83CB8762BE0}"/>
              </a:ext>
            </a:extLst>
          </p:cNvPr>
          <p:cNvSpPr txBox="1"/>
          <p:nvPr userDrawn="1"/>
        </p:nvSpPr>
        <p:spPr>
          <a:xfrm>
            <a:off x="256419" y="6409562"/>
            <a:ext cx="7036740" cy="23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EAEBEB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algn="l"/>
            <a:fld id="{598073B8-37DC-784E-B230-6F27142AC6D0}" type="slidenum">
              <a:rPr lang="en-US" sz="900" smtClean="0">
                <a:solidFill>
                  <a:schemeClr val="tx1"/>
                </a:solidFill>
                <a:latin typeface="Arial"/>
                <a:cs typeface="Arial"/>
              </a:rPr>
              <a:pPr algn="l"/>
              <a:t>‹#›</a:t>
            </a:fld>
            <a:r>
              <a:rPr lang="en-US" sz="900" baseline="0">
                <a:solidFill>
                  <a:schemeClr val="tx1"/>
                </a:solidFill>
                <a:latin typeface="Arial"/>
                <a:cs typeface="Arial"/>
              </a:rPr>
              <a:t>      </a:t>
            </a:r>
            <a:r>
              <a:rPr lang="en-US" sz="900">
                <a:solidFill>
                  <a:schemeClr val="tx1"/>
                </a:solidFill>
                <a:latin typeface="Arial"/>
                <a:cs typeface="Arial"/>
              </a:rPr>
              <a:t>© 2020 IDEXX Laboratorie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27258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2D12328-C8FC-4045-B664-5972F13E5D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01263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7"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2D12328-C8FC-4045-B664-5972F13E5D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B19CB4A-CB2C-43F3-94F9-4F164E0CEFC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111125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2090401" y="0"/>
            <a:ext cx="114300" cy="13716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101" name="Picture 12" descr="new-idexx-color-RGB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10803467" y="6448426"/>
            <a:ext cx="1094317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opyrightObject">
            <a:extLst>
              <a:ext uri="{FF2B5EF4-FFF2-40B4-BE49-F238E27FC236}">
                <a16:creationId xmlns:a16="http://schemas.microsoft.com/office/drawing/2014/main" id="{6E974B7A-65CB-40BC-89B8-B83CB8762BE0}"/>
              </a:ext>
            </a:extLst>
          </p:cNvPr>
          <p:cNvSpPr txBox="1"/>
          <p:nvPr userDrawn="1"/>
        </p:nvSpPr>
        <p:spPr>
          <a:xfrm>
            <a:off x="256419" y="6409562"/>
            <a:ext cx="7036740" cy="23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EAEBEB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algn="l"/>
            <a:fld id="{598073B8-37DC-784E-B230-6F27142AC6D0}" type="slidenum">
              <a:rPr lang="en-US" sz="900" smtClean="0">
                <a:solidFill>
                  <a:schemeClr val="tx1"/>
                </a:solidFill>
                <a:latin typeface="Arial"/>
                <a:cs typeface="Arial"/>
              </a:rPr>
              <a:pPr algn="l"/>
              <a:t>‹#›</a:t>
            </a:fld>
            <a:r>
              <a:rPr lang="en-US" sz="900" baseline="0">
                <a:solidFill>
                  <a:schemeClr val="tx1"/>
                </a:solidFill>
                <a:latin typeface="Arial"/>
                <a:cs typeface="Arial"/>
              </a:rPr>
              <a:t>      </a:t>
            </a:r>
            <a:r>
              <a:rPr lang="en-US" sz="900">
                <a:solidFill>
                  <a:schemeClr val="tx1"/>
                </a:solidFill>
                <a:latin typeface="Arial"/>
                <a:cs typeface="Arial"/>
              </a:rPr>
              <a:t>© 2020 IDEXX Laboratorie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55269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7" r:id="rId7"/>
    <p:sldLayoutId id="2147483798" r:id="rId8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2D12328-C8FC-4045-B664-5972F13E5D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123663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1"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2D12328-C8FC-4045-B664-5972F13E5D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B19CB4A-CB2C-43F3-94F9-4F164E0CEFC0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111125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2090401" y="0"/>
            <a:ext cx="114300" cy="13716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101" name="Picture 12" descr="new-idexx-color-RGB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10803467" y="6448426"/>
            <a:ext cx="1094317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opyrightObject">
            <a:extLst>
              <a:ext uri="{FF2B5EF4-FFF2-40B4-BE49-F238E27FC236}">
                <a16:creationId xmlns:a16="http://schemas.microsoft.com/office/drawing/2014/main" id="{6E974B7A-65CB-40BC-89B8-B83CB8762BE0}"/>
              </a:ext>
            </a:extLst>
          </p:cNvPr>
          <p:cNvSpPr txBox="1"/>
          <p:nvPr userDrawn="1"/>
        </p:nvSpPr>
        <p:spPr>
          <a:xfrm>
            <a:off x="256419" y="6409562"/>
            <a:ext cx="7036740" cy="23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EAEBEB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algn="l"/>
            <a:fld id="{598073B8-37DC-784E-B230-6F27142AC6D0}" type="slidenum">
              <a:rPr lang="en-US" sz="900" smtClean="0">
                <a:solidFill>
                  <a:schemeClr val="tx1"/>
                </a:solidFill>
                <a:latin typeface="Arial"/>
                <a:cs typeface="Arial"/>
              </a:rPr>
              <a:pPr algn="l"/>
              <a:t>‹#›</a:t>
            </a:fld>
            <a:r>
              <a:rPr lang="en-US" sz="900" baseline="0">
                <a:solidFill>
                  <a:schemeClr val="tx1"/>
                </a:solidFill>
                <a:latin typeface="Arial"/>
                <a:cs typeface="Arial"/>
              </a:rPr>
              <a:t>      </a:t>
            </a:r>
            <a:r>
              <a:rPr lang="en-US" sz="900">
                <a:solidFill>
                  <a:schemeClr val="tx1"/>
                </a:solidFill>
                <a:latin typeface="Arial"/>
                <a:cs typeface="Arial"/>
              </a:rPr>
              <a:t>© 2020 IDEXX Laboratorie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17331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microsoft.com/office/2007/relationships/media" Target="../media/media1.m4a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1.png"/><Relationship Id="rId4" Type="http://schemas.openxmlformats.org/officeDocument/2006/relationships/audio" Target="../media/media1.m4a"/><Relationship Id="rId9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audio" Target="../media/media10.m4a"/><Relationship Id="rId1" Type="http://schemas.microsoft.com/office/2007/relationships/media" Target="../media/media10.m4a"/><Relationship Id="rId5" Type="http://schemas.openxmlformats.org/officeDocument/2006/relationships/image" Target="../media/image11.png"/><Relationship Id="rId4" Type="http://schemas.openxmlformats.org/officeDocument/2006/relationships/image" Target="../media/image1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audio" Target="../media/media11.m4a"/><Relationship Id="rId1" Type="http://schemas.microsoft.com/office/2007/relationships/media" Target="../media/media11.m4a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44.xml"/><Relationship Id="rId7" Type="http://schemas.openxmlformats.org/officeDocument/2006/relationships/notesSlide" Target="../notesSlides/notesSlide2.xml"/><Relationship Id="rId12" Type="http://schemas.openxmlformats.org/officeDocument/2006/relationships/image" Target="../media/image11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6" Type="http://schemas.openxmlformats.org/officeDocument/2006/relationships/slideLayout" Target="../slideLayouts/slideLayout40.xml"/><Relationship Id="rId11" Type="http://schemas.openxmlformats.org/officeDocument/2006/relationships/image" Target="../media/image20.svg"/><Relationship Id="rId5" Type="http://schemas.openxmlformats.org/officeDocument/2006/relationships/audio" Target="../media/media12.m4a"/><Relationship Id="rId10" Type="http://schemas.openxmlformats.org/officeDocument/2006/relationships/image" Target="../media/image19.png"/><Relationship Id="rId4" Type="http://schemas.microsoft.com/office/2007/relationships/media" Target="../media/media12.m4a"/><Relationship Id="rId9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.xml"/><Relationship Id="rId2" Type="http://schemas.openxmlformats.org/officeDocument/2006/relationships/audio" Target="../media/media13.m4a"/><Relationship Id="rId1" Type="http://schemas.microsoft.com/office/2007/relationships/media" Target="../media/media13.m4a"/><Relationship Id="rId5" Type="http://schemas.openxmlformats.org/officeDocument/2006/relationships/image" Target="../media/image11.png"/><Relationship Id="rId4" Type="http://schemas.openxmlformats.org/officeDocument/2006/relationships/image" Target="../media/image2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audio" Target="../media/media14.m4a"/><Relationship Id="rId1" Type="http://schemas.microsoft.com/office/2007/relationships/media" Target="../media/media14.m4a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media" Target="../media/media15.m4a"/><Relationship Id="rId7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slideLayout" Target="../slideLayouts/slideLayout30.xml"/><Relationship Id="rId4" Type="http://schemas.openxmlformats.org/officeDocument/2006/relationships/audio" Target="../media/media15.m4a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.xml"/><Relationship Id="rId7" Type="http://schemas.openxmlformats.org/officeDocument/2006/relationships/oleObject" Target="../embeddings/oleObject20.bin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6" Type="http://schemas.openxmlformats.org/officeDocument/2006/relationships/slideLayout" Target="../slideLayouts/slideLayout96.xml"/><Relationship Id="rId11" Type="http://schemas.openxmlformats.org/officeDocument/2006/relationships/image" Target="../media/image11.png"/><Relationship Id="rId5" Type="http://schemas.openxmlformats.org/officeDocument/2006/relationships/audio" Target="../media/media2.m4a"/><Relationship Id="rId10" Type="http://schemas.openxmlformats.org/officeDocument/2006/relationships/image" Target="../media/image13.png"/><Relationship Id="rId4" Type="http://schemas.microsoft.com/office/2007/relationships/media" Target="../media/media2.m4a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audio" Target="../media/media3.m4a"/><Relationship Id="rId7" Type="http://schemas.openxmlformats.org/officeDocument/2006/relationships/image" Target="../media/image11.png"/><Relationship Id="rId2" Type="http://schemas.microsoft.com/office/2007/relationships/media" Target="../media/media3.m4a"/><Relationship Id="rId1" Type="http://schemas.openxmlformats.org/officeDocument/2006/relationships/tags" Target="../tags/tag37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slideLayout" Target="../slideLayouts/slideLayout9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4.xml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5" Type="http://schemas.openxmlformats.org/officeDocument/2006/relationships/image" Target="../media/image11.png"/><Relationship Id="rId4" Type="http://schemas.openxmlformats.org/officeDocument/2006/relationships/hyperlink" Target="https://globalhealthlaboratories.tghn.org/articles/laboratory-accreditation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4.xml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9.xml"/><Relationship Id="rId7" Type="http://schemas.openxmlformats.org/officeDocument/2006/relationships/oleObject" Target="../embeddings/oleObject21.bin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slideLayout" Target="../slideLayouts/slideLayout91.xml"/><Relationship Id="rId5" Type="http://schemas.openxmlformats.org/officeDocument/2006/relationships/audio" Target="../media/media6.m4a"/><Relationship Id="rId4" Type="http://schemas.microsoft.com/office/2007/relationships/media" Target="../media/media6.m4a"/><Relationship Id="rId9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audio" Target="../media/media7.m4a"/><Relationship Id="rId2" Type="http://schemas.microsoft.com/office/2007/relationships/media" Target="../media/media7.m4a"/><Relationship Id="rId1" Type="http://schemas.openxmlformats.org/officeDocument/2006/relationships/tags" Target="../tags/tag40.xml"/><Relationship Id="rId5" Type="http://schemas.openxmlformats.org/officeDocument/2006/relationships/image" Target="../media/image11.png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8.m4a"/><Relationship Id="rId1" Type="http://schemas.microsoft.com/office/2007/relationships/media" Target="../media/media8.m4a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42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slideLayout" Target="../slideLayouts/slideLayout56.xml"/><Relationship Id="rId11" Type="http://schemas.openxmlformats.org/officeDocument/2006/relationships/image" Target="../media/image11.png"/><Relationship Id="rId5" Type="http://schemas.openxmlformats.org/officeDocument/2006/relationships/audio" Target="../media/media9.m4a"/><Relationship Id="rId10" Type="http://schemas.openxmlformats.org/officeDocument/2006/relationships/image" Target="../media/image17.png"/><Relationship Id="rId4" Type="http://schemas.microsoft.com/office/2007/relationships/media" Target="../media/media9.m4a"/><Relationship Id="rId9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2584325-4E5C-4B43-9217-7B53718FFB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3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2584325-4E5C-4B43-9217-7B53718FF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 descr="A picture containing fabric&#10;&#10;Description automatically generated">
            <a:extLst>
              <a:ext uri="{FF2B5EF4-FFF2-40B4-BE49-F238E27FC236}">
                <a16:creationId xmlns:a16="http://schemas.microsoft.com/office/drawing/2014/main" id="{ECA94812-2246-4BB9-BA80-ADA38D1863A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5" r="15985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BEDFE17-4BA2-4192-AC93-63842EE08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2400" y="414952"/>
            <a:ext cx="7933442" cy="1143000"/>
          </a:xfrm>
        </p:spPr>
        <p:txBody>
          <a:bodyPr/>
          <a:lstStyle/>
          <a:p>
            <a:r>
              <a:rPr lang="en-US" sz="3200" dirty="0">
                <a:solidFill>
                  <a:schemeClr val="accent4"/>
                </a:solidFill>
              </a:rPr>
              <a:t>Wastewater Surveillance for SARS-CoV-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5E8454-64E6-4F29-B3A1-07170581A3C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56355" y="5300048"/>
            <a:ext cx="7022846" cy="1143000"/>
          </a:xfrm>
        </p:spPr>
        <p:txBody>
          <a:bodyPr>
            <a:normAutofit fontScale="47500" lnSpcReduction="20000"/>
          </a:bodyPr>
          <a:lstStyle/>
          <a:p>
            <a:endParaRPr lang="en-US" dirty="0"/>
          </a:p>
          <a:p>
            <a:endParaRPr lang="en-US" dirty="0"/>
          </a:p>
          <a:p>
            <a:endParaRPr lang="en-US" sz="3400" dirty="0"/>
          </a:p>
          <a:p>
            <a:pPr marL="0" indent="0">
              <a:buNone/>
            </a:pPr>
            <a:r>
              <a:rPr lang="en-US" sz="3400" b="1" dirty="0"/>
              <a:t>DHS/NIST Workshop: Standards to Support an Enduring Capability in Wastewater Surveillance for Public Health – June 18, 2021</a:t>
            </a:r>
            <a:endParaRPr lang="en-US" sz="3400" dirty="0">
              <a:solidFill>
                <a:srgbClr val="585A5C"/>
              </a:solidFill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Subtitle 8">
            <a:extLst>
              <a:ext uri="{FF2B5EF4-FFF2-40B4-BE49-F238E27FC236}">
                <a16:creationId xmlns:a16="http://schemas.microsoft.com/office/drawing/2014/main" id="{5B741F1F-67FC-4F83-A02A-19261A70C0EA}"/>
              </a:ext>
            </a:extLst>
          </p:cNvPr>
          <p:cNvSpPr txBox="1">
            <a:spLocks/>
          </p:cNvSpPr>
          <p:nvPr/>
        </p:nvSpPr>
        <p:spPr>
          <a:xfrm>
            <a:off x="4872996" y="986452"/>
            <a:ext cx="7022846" cy="1142999"/>
          </a:xfrm>
          <a:prstGeom prst="rect">
            <a:avLst/>
          </a:prstGeom>
        </p:spPr>
        <p:txBody>
          <a:bodyPr/>
          <a:lstStyle>
            <a:lvl1pPr marL="342900" indent="-342900" algn="l" defTabSz="457200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buNone/>
            </a:pPr>
            <a:r>
              <a:rPr lang="en-US" dirty="0">
                <a:solidFill>
                  <a:schemeClr val="accent4"/>
                </a:solidFill>
              </a:rPr>
              <a:t>Collaborative development of an analytical method audit checklist</a:t>
            </a:r>
          </a:p>
          <a:p>
            <a:pPr eaLnBrk="1" hangingPunct="1"/>
            <a:endParaRPr lang="en-US" dirty="0"/>
          </a:p>
        </p:txBody>
      </p:sp>
      <p:pic>
        <p:nvPicPr>
          <p:cNvPr id="48130" name="241C0853-C30A-40ED-B437-94C818198035">
            <a:extLst>
              <a:ext uri="{FF2B5EF4-FFF2-40B4-BE49-F238E27FC236}">
                <a16:creationId xmlns:a16="http://schemas.microsoft.com/office/drawing/2014/main" id="{A022ED1E-F990-4981-8071-46BDD1C363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4720" y="2594271"/>
            <a:ext cx="3332988" cy="1874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EFC7002-323B-4484-88A6-AB8CBB709A0A}"/>
              </a:ext>
            </a:extLst>
          </p:cNvPr>
          <p:cNvSpPr txBox="1"/>
          <p:nvPr/>
        </p:nvSpPr>
        <p:spPr>
          <a:xfrm>
            <a:off x="5171440" y="4348480"/>
            <a:ext cx="6035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tsy Root, ACIL WW COVID workgroup, Chair </a:t>
            </a:r>
          </a:p>
        </p:txBody>
      </p:sp>
      <p:pic>
        <p:nvPicPr>
          <p:cNvPr id="2" name="Audio 1">
            <a:hlinkClick r:id="" action="ppaction://media"/>
            <a:extLst>
              <a:ext uri="{FF2B5EF4-FFF2-40B4-BE49-F238E27FC236}">
                <a16:creationId xmlns:a16="http://schemas.microsoft.com/office/drawing/2014/main" id="{ACB407C4-D30A-4ED6-A634-755EA1DBA4FB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1552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473659"/>
      </p:ext>
    </p:extLst>
  </p:cSld>
  <p:clrMapOvr>
    <a:masterClrMapping/>
  </p:clrMapOvr>
  <p:transition advTm="26494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BA0B5-C898-40AF-AC65-A69EB5EDC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223" y="176938"/>
            <a:ext cx="10972800" cy="1143000"/>
          </a:xfrm>
        </p:spPr>
        <p:txBody>
          <a:bodyPr/>
          <a:lstStyle/>
          <a:p>
            <a:r>
              <a:rPr lang="en-US" dirty="0"/>
              <a:t>WW/COVID Checklist covers several steps in the testing process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1105EB-427C-45CD-B6FE-A1232DC019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925" y="1602000"/>
            <a:ext cx="6422796" cy="4525200"/>
          </a:xfrm>
        </p:spPr>
        <p:txBody>
          <a:bodyPr/>
          <a:lstStyle/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4B4D4E"/>
                </a:solidFill>
              </a:rPr>
              <a:t>Sample Checks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4B4D4E"/>
                </a:solidFill>
              </a:rPr>
              <a:t>Standard Curve (RT-PCR)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4B4D4E"/>
                </a:solidFill>
              </a:rPr>
              <a:t>Pretreatment 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4B4D4E"/>
                </a:solidFill>
              </a:rPr>
              <a:t>Concentration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4B4D4E"/>
                </a:solidFill>
              </a:rPr>
              <a:t>Extraction of RNA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4B4D4E"/>
                </a:solidFill>
              </a:rPr>
              <a:t>PCR, either RT-PCR or ddPCR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4B4D4E"/>
                </a:solidFill>
              </a:rPr>
              <a:t>Results interpretation, data reporting</a:t>
            </a:r>
          </a:p>
          <a:p>
            <a:endParaRPr lang="en-US" dirty="0"/>
          </a:p>
        </p:txBody>
      </p:sp>
      <p:pic>
        <p:nvPicPr>
          <p:cNvPr id="50178" name="Picture 2" descr="Predicting A Covid-19 Outbreak With Wastewater Analysis">
            <a:extLst>
              <a:ext uri="{FF2B5EF4-FFF2-40B4-BE49-F238E27FC236}">
                <a16:creationId xmlns:a16="http://schemas.microsoft.com/office/drawing/2014/main" id="{611C1656-C543-47B1-AB76-8DE104A712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442300"/>
            <a:ext cx="5627801" cy="398635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D222463E-CD53-47AB-A994-214FDC6662C2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552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322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94188"/>
    </mc:Choice>
    <mc:Fallback>
      <p:transition spd="slow" advTm="9418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449186-9CC0-4B0E-9B16-3DE7129CD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list includes six parameters to consider for each step in the method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44C6B4B-885F-4799-8EA1-6652F26899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0100484"/>
              </p:ext>
            </p:extLst>
          </p:nvPr>
        </p:nvGraphicFramePr>
        <p:xfrm>
          <a:off x="532660" y="1387292"/>
          <a:ext cx="11203619" cy="4977148"/>
        </p:xfrm>
        <a:graphic>
          <a:graphicData uri="http://schemas.openxmlformats.org/drawingml/2006/table">
            <a:tbl>
              <a:tblPr/>
              <a:tblGrid>
                <a:gridCol w="2032987">
                  <a:extLst>
                    <a:ext uri="{9D8B030D-6E8A-4147-A177-3AD203B41FA5}">
                      <a16:colId xmlns:a16="http://schemas.microsoft.com/office/drawing/2014/main" val="3861927768"/>
                    </a:ext>
                  </a:extLst>
                </a:gridCol>
                <a:gridCol w="1926454">
                  <a:extLst>
                    <a:ext uri="{9D8B030D-6E8A-4147-A177-3AD203B41FA5}">
                      <a16:colId xmlns:a16="http://schemas.microsoft.com/office/drawing/2014/main" val="1072395263"/>
                    </a:ext>
                  </a:extLst>
                </a:gridCol>
                <a:gridCol w="1363204">
                  <a:extLst>
                    <a:ext uri="{9D8B030D-6E8A-4147-A177-3AD203B41FA5}">
                      <a16:colId xmlns:a16="http://schemas.microsoft.com/office/drawing/2014/main" val="1453732748"/>
                    </a:ext>
                  </a:extLst>
                </a:gridCol>
                <a:gridCol w="1459895">
                  <a:extLst>
                    <a:ext uri="{9D8B030D-6E8A-4147-A177-3AD203B41FA5}">
                      <a16:colId xmlns:a16="http://schemas.microsoft.com/office/drawing/2014/main" val="1957415687"/>
                    </a:ext>
                  </a:extLst>
                </a:gridCol>
                <a:gridCol w="2210015">
                  <a:extLst>
                    <a:ext uri="{9D8B030D-6E8A-4147-A177-3AD203B41FA5}">
                      <a16:colId xmlns:a16="http://schemas.microsoft.com/office/drawing/2014/main" val="4214394128"/>
                    </a:ext>
                  </a:extLst>
                </a:gridCol>
                <a:gridCol w="2211064">
                  <a:extLst>
                    <a:ext uri="{9D8B030D-6E8A-4147-A177-3AD203B41FA5}">
                      <a16:colId xmlns:a16="http://schemas.microsoft.com/office/drawing/2014/main" val="2400371345"/>
                    </a:ext>
                  </a:extLst>
                </a:gridCol>
              </a:tblGrid>
              <a:tr h="59899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y Control Measure</a:t>
                      </a:r>
                    </a:p>
                  </a:txBody>
                  <a:tcPr marL="5910" marR="5910" marT="59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cription</a:t>
                      </a:r>
                    </a:p>
                  </a:txBody>
                  <a:tcPr marL="5910" marR="5910" marT="59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equency</a:t>
                      </a:r>
                    </a:p>
                  </a:txBody>
                  <a:tcPr marL="5910" marR="5910" marT="59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rpose</a:t>
                      </a:r>
                    </a:p>
                  </a:txBody>
                  <a:tcPr marL="5910" marR="5910" marT="59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rol Limit</a:t>
                      </a:r>
                    </a:p>
                  </a:txBody>
                  <a:tcPr marL="5910" marR="5910" marT="59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rrective and Preventative Actions?</a:t>
                      </a:r>
                    </a:p>
                  </a:txBody>
                  <a:tcPr marL="5910" marR="5910" marT="59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179528"/>
                  </a:ext>
                </a:extLst>
              </a:tr>
              <a:tr h="428442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PLE CHECKS</a:t>
                      </a:r>
                    </a:p>
                  </a:txBody>
                  <a:tcPr marL="5910" marR="5910" marT="59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6591413"/>
                  </a:ext>
                </a:extLst>
              </a:tr>
              <a:tr h="1423293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in of Custody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ails to identify specific sample under analysis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very sample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ple traceability through entire testing procedure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cumentation</a:t>
                      </a:r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escribing at a minimum: Sample ID; Client ID; Time and Date; Custodian, Analysis requested 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 not initiate analysis without information required OR contact client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483038"/>
                  </a:ext>
                </a:extLst>
              </a:tr>
              <a:tr h="1229586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mperature of sample and subsamples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mperature is measured upon receipt of sample; on initiation of analysis of sample/sub-sample (if &gt;4h post-receipt)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e column B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 if there are significant temperature changes post-storage or subsampling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mperature between samples should be within 5 C of each other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f &gt;5C, discard sample/subsample and re-sample OR confirm sample use as agreed with client OR note deviation on report 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93021"/>
                  </a:ext>
                </a:extLst>
              </a:tr>
              <a:tr h="957011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 of sample and subsamples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 is measured upon receipt of sample and during the subsampling process if subsampling applied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 subsampling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 if there are significant pH changes during subsampling 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 of subsamples within ±1 of original sample pH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f &gt;pH1, note on report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3285482"/>
                  </a:ext>
                </a:extLst>
              </a:tr>
            </a:tbl>
          </a:graphicData>
        </a:graphic>
      </p:graphicFrame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7ED77037-8E52-433A-A4CA-320F1865F2D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552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6901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96782"/>
    </mc:Choice>
    <mc:Fallback>
      <p:transition spd="slow" advTm="19678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B1E04B-D033-409F-B92B-09B99FF760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7388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6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B1E04B-D033-409F-B92B-09B99FF760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A0DAE09-6A55-4D7C-9394-981A3DF7F0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32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99D922-207F-4FF7-9960-05B78ADD6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The quality checklist under review by stakeholders and multiple other reviewer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FEE96B7-7E3E-4F50-891A-D988A0990202}"/>
              </a:ext>
            </a:extLst>
          </p:cNvPr>
          <p:cNvGrpSpPr/>
          <p:nvPr/>
        </p:nvGrpSpPr>
        <p:grpSpPr>
          <a:xfrm>
            <a:off x="2068498" y="1753386"/>
            <a:ext cx="7437918" cy="4402777"/>
            <a:chOff x="1525891" y="1753386"/>
            <a:chExt cx="7437918" cy="4402777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F248C08-C062-48FA-82E4-12986C653F4A}"/>
                </a:ext>
              </a:extLst>
            </p:cNvPr>
            <p:cNvGrpSpPr/>
            <p:nvPr/>
          </p:nvGrpSpPr>
          <p:grpSpPr>
            <a:xfrm>
              <a:off x="2440290" y="1753386"/>
              <a:ext cx="5337351" cy="3061033"/>
              <a:chOff x="2982897" y="1753386"/>
              <a:chExt cx="5337351" cy="3061033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A3452916-99A0-453A-B34B-C8030605ED66}"/>
                  </a:ext>
                </a:extLst>
              </p:cNvPr>
              <p:cNvSpPr/>
              <p:nvPr/>
            </p:nvSpPr>
            <p:spPr>
              <a:xfrm>
                <a:off x="2982897" y="1753386"/>
                <a:ext cx="5337351" cy="97545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lign on key QA/QC variables– multiple reviewers</a:t>
                </a: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789082E8-1CFA-4EA2-BFD9-A97A6FAF20AD}"/>
                  </a:ext>
                </a:extLst>
              </p:cNvPr>
              <p:cNvSpPr/>
              <p:nvPr/>
            </p:nvSpPr>
            <p:spPr>
              <a:xfrm>
                <a:off x="2982897" y="3913980"/>
                <a:ext cx="5337351" cy="900439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ake available and promote</a:t>
                </a: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84F728F7-E87B-4318-BC93-7A74A2D4DAE4}"/>
                  </a:ext>
                </a:extLst>
              </p:cNvPr>
              <p:cNvSpPr/>
              <p:nvPr/>
            </p:nvSpPr>
            <p:spPr>
              <a:xfrm>
                <a:off x="2982897" y="2871194"/>
                <a:ext cx="5337351" cy="900439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inal audit Checklist completed</a:t>
                </a:r>
              </a:p>
            </p:txBody>
          </p:sp>
        </p:grpSp>
        <p:sp>
          <p:nvSpPr>
            <p:cNvPr id="3" name="Isosceles Triangle 2">
              <a:extLst>
                <a:ext uri="{FF2B5EF4-FFF2-40B4-BE49-F238E27FC236}">
                  <a16:creationId xmlns:a16="http://schemas.microsoft.com/office/drawing/2014/main" id="{39EECBE1-CFF0-4F45-9779-A49B4FCC5FEE}"/>
                </a:ext>
              </a:extLst>
            </p:cNvPr>
            <p:cNvSpPr/>
            <p:nvPr/>
          </p:nvSpPr>
          <p:spPr>
            <a:xfrm rot="10800000">
              <a:off x="4140853" y="4956766"/>
              <a:ext cx="1936224" cy="346565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937C327-8F4E-4EF2-B2DF-B80212114BFF}"/>
                </a:ext>
              </a:extLst>
            </p:cNvPr>
            <p:cNvSpPr/>
            <p:nvPr/>
          </p:nvSpPr>
          <p:spPr>
            <a:xfrm>
              <a:off x="1525891" y="5464787"/>
              <a:ext cx="7437918" cy="69137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liable public health data</a:t>
              </a:r>
            </a:p>
          </p:txBody>
        </p:sp>
      </p:grpSp>
      <p:pic>
        <p:nvPicPr>
          <p:cNvPr id="12" name="Graphic 11" descr="Checkmark">
            <a:extLst>
              <a:ext uri="{FF2B5EF4-FFF2-40B4-BE49-F238E27FC236}">
                <a16:creationId xmlns:a16="http://schemas.microsoft.com/office/drawing/2014/main" id="{0856AAC0-6C63-49EF-8F62-385690D5714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701596" y="1753386"/>
            <a:ext cx="914400" cy="914400"/>
          </a:xfrm>
          <a:prstGeom prst="rect">
            <a:avLst/>
          </a:prstGeom>
        </p:spPr>
      </p:pic>
      <p:pic>
        <p:nvPicPr>
          <p:cNvPr id="8" name="Audio 7">
            <a:hlinkClick r:id="" action="ppaction://media"/>
            <a:extLst>
              <a:ext uri="{FF2B5EF4-FFF2-40B4-BE49-F238E27FC236}">
                <a16:creationId xmlns:a16="http://schemas.microsoft.com/office/drawing/2014/main" id="{CF9CDEB5-2CF0-41E9-8B75-A73C1CC4755A}"/>
              </a:ext>
            </a:extLst>
          </p:cNvPr>
          <p:cNvPicPr>
            <a:picLocks noChangeAspect="1"/>
          </p:cNvPicPr>
          <p:nvPr>
            <a:audi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11552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5695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68875"/>
    </mc:Choice>
    <mc:Fallback>
      <p:transition advTm="6887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DB34C6EB-71ED-435D-9AB6-8E870B577D9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t="6228" b="6228"/>
          <a:stretch>
            <a:fillRect/>
          </a:stretch>
        </p:blipFill>
        <p:spPr>
          <a:xfrm>
            <a:off x="-17629" y="-9254"/>
            <a:ext cx="5570018" cy="6867254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AD9A1E0-5BA3-4904-808B-32C511F9C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8785" y="344506"/>
            <a:ext cx="6539639" cy="674571"/>
          </a:xfrm>
        </p:spPr>
        <p:txBody>
          <a:bodyPr/>
          <a:lstStyle/>
          <a:p>
            <a:r>
              <a:rPr lang="en-US" dirty="0"/>
              <a:t>Promotion of WW/COVID checklis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9F8E68-7A09-48C2-B387-EC8C2BEAF068}"/>
              </a:ext>
            </a:extLst>
          </p:cNvPr>
          <p:cNvSpPr txBox="1"/>
          <p:nvPr/>
        </p:nvSpPr>
        <p:spPr>
          <a:xfrm>
            <a:off x="5552389" y="1229235"/>
            <a:ext cx="6343689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rgbClr val="4B4D4E"/>
                </a:solidFill>
              </a:rPr>
              <a:t>Availability and promotion of checklist through stakeholder group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rgbClr val="4B4D4E"/>
                </a:solidFill>
              </a:rPr>
              <a:t>Adoption of accreditation under ISO 17025 first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rgbClr val="4B4D4E"/>
                </a:solidFill>
              </a:rPr>
              <a:t>Explore and expand into TNI and State options for accreditation/certificatio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rgbClr val="4B4D4E"/>
                </a:solidFill>
              </a:rPr>
              <a:t>Determine how else to promote and communicate these tools to laboratories and other Accreditation Bodie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tx2"/>
                </a:solidFill>
              </a:rPr>
              <a:t>Future: </a:t>
            </a:r>
            <a:r>
              <a:rPr lang="en-US" sz="2400" dirty="0">
                <a:solidFill>
                  <a:srgbClr val="4B4D4E"/>
                </a:solidFill>
              </a:rPr>
              <a:t>Coordinate and share with other similar efforts globally and/or apply to other WW parameters/programs</a:t>
            </a:r>
          </a:p>
        </p:txBody>
      </p:sp>
      <p:pic>
        <p:nvPicPr>
          <p:cNvPr id="2" name="Audio 1">
            <a:hlinkClick r:id="" action="ppaction://media"/>
            <a:extLst>
              <a:ext uri="{FF2B5EF4-FFF2-40B4-BE49-F238E27FC236}">
                <a16:creationId xmlns:a16="http://schemas.microsoft.com/office/drawing/2014/main" id="{EBD248E2-09AD-4BE5-BC09-81754258356B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552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746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2533"/>
    </mc:Choice>
    <mc:Fallback>
      <p:transition spd="slow" advTm="8253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0FF9B35-6E88-45E8-AEC2-04BF7B2985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46" y="288524"/>
            <a:ext cx="10972800" cy="701336"/>
          </a:xfrm>
        </p:spPr>
        <p:txBody>
          <a:bodyPr/>
          <a:lstStyle/>
          <a:p>
            <a:r>
              <a:rPr lang="en-US" dirty="0"/>
              <a:t>WW COVID Checklist development stakeholder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3A54020-76D2-4B96-98B9-FD16E7D6B512}"/>
              </a:ext>
            </a:extLst>
          </p:cNvPr>
          <p:cNvSpPr/>
          <p:nvPr/>
        </p:nvSpPr>
        <p:spPr>
          <a:xfrm>
            <a:off x="511946" y="1198486"/>
            <a:ext cx="6388963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4B4D4E"/>
                </a:solidFill>
              </a:rPr>
              <a:t>Chair – Patsy Root, IDEXX Laboratories, Inc.</a:t>
            </a:r>
          </a:p>
          <a:p>
            <a:r>
              <a:rPr lang="en-US" sz="2000" dirty="0">
                <a:solidFill>
                  <a:srgbClr val="4B4D4E"/>
                </a:solidFill>
              </a:rPr>
              <a:t>Patricia	Atkins, SPEX </a:t>
            </a:r>
            <a:r>
              <a:rPr lang="en-US" sz="2000" dirty="0" err="1">
                <a:solidFill>
                  <a:srgbClr val="4B4D4E"/>
                </a:solidFill>
              </a:rPr>
              <a:t>CertiPrep</a:t>
            </a:r>
            <a:endParaRPr lang="en-US" sz="2000" dirty="0">
              <a:solidFill>
                <a:srgbClr val="4B4D4E"/>
              </a:solidFill>
            </a:endParaRPr>
          </a:p>
          <a:p>
            <a:r>
              <a:rPr lang="en-US" sz="2000" dirty="0">
                <a:solidFill>
                  <a:srgbClr val="4B4D4E"/>
                </a:solidFill>
              </a:rPr>
              <a:t>Angela Carlson, ALS Life Sciences</a:t>
            </a:r>
          </a:p>
          <a:p>
            <a:r>
              <a:rPr lang="en-US" sz="2000" dirty="0">
                <a:solidFill>
                  <a:srgbClr val="4B4D4E"/>
                </a:solidFill>
              </a:rPr>
              <a:t>John Cosgrove, Eurofins Environment Testing America </a:t>
            </a:r>
          </a:p>
          <a:p>
            <a:r>
              <a:rPr lang="en-US" sz="2000" dirty="0">
                <a:solidFill>
                  <a:srgbClr val="4B4D4E"/>
                </a:solidFill>
              </a:rPr>
              <a:t>Jack Farrell, Analytical Excellence, Inc.</a:t>
            </a:r>
          </a:p>
          <a:p>
            <a:r>
              <a:rPr lang="en-US" sz="2000" dirty="0">
                <a:solidFill>
                  <a:srgbClr val="4B4D4E"/>
                </a:solidFill>
              </a:rPr>
              <a:t>David Friedman, ACIL ESS Consultant</a:t>
            </a:r>
          </a:p>
          <a:p>
            <a:r>
              <a:rPr lang="en-US" sz="2000" dirty="0">
                <a:solidFill>
                  <a:srgbClr val="4B4D4E"/>
                </a:solidFill>
              </a:rPr>
              <a:t>Jay Garland, EPA</a:t>
            </a:r>
          </a:p>
          <a:p>
            <a:r>
              <a:rPr lang="en-US" sz="2000" dirty="0">
                <a:solidFill>
                  <a:srgbClr val="4B4D4E"/>
                </a:solidFill>
              </a:rPr>
              <a:t>Amy Kirby, CDC</a:t>
            </a:r>
          </a:p>
          <a:p>
            <a:r>
              <a:rPr lang="en-US" sz="2000" dirty="0">
                <a:solidFill>
                  <a:srgbClr val="4B4D4E"/>
                </a:solidFill>
              </a:rPr>
              <a:t>Mia Mattioli, CDC</a:t>
            </a:r>
          </a:p>
          <a:p>
            <a:r>
              <a:rPr lang="en-US" sz="2000" dirty="0">
                <a:solidFill>
                  <a:srgbClr val="4B4D4E"/>
                </a:solidFill>
              </a:rPr>
              <a:t>Sharon Mertens, Milwaukee Metropolitan Sewerage District</a:t>
            </a:r>
          </a:p>
          <a:p>
            <a:r>
              <a:rPr lang="en-US" sz="2000" dirty="0">
                <a:solidFill>
                  <a:srgbClr val="4B4D4E"/>
                </a:solidFill>
              </a:rPr>
              <a:t>Judy Morgan, Pace Analytical </a:t>
            </a:r>
          </a:p>
          <a:p>
            <a:r>
              <a:rPr lang="en-US" sz="2000" dirty="0">
                <a:solidFill>
                  <a:srgbClr val="4B4D4E"/>
                </a:solidFill>
              </a:rPr>
              <a:t>Julianne Nassif, APHL</a:t>
            </a:r>
          </a:p>
          <a:p>
            <a:r>
              <a:rPr lang="en-US" sz="2000" dirty="0">
                <a:solidFill>
                  <a:srgbClr val="4B4D4E"/>
                </a:solidFill>
              </a:rPr>
              <a:t>Michael Oscar, ACIL Government Relations Director</a:t>
            </a:r>
          </a:p>
          <a:p>
            <a:r>
              <a:rPr lang="en-US" sz="2000" dirty="0">
                <a:solidFill>
                  <a:srgbClr val="4B4D4E"/>
                </a:solidFill>
              </a:rPr>
              <a:t>Jerry Parr, TNI</a:t>
            </a:r>
          </a:p>
          <a:p>
            <a:r>
              <a:rPr lang="en-US" sz="2000" dirty="0">
                <a:solidFill>
                  <a:srgbClr val="4B4D4E"/>
                </a:solidFill>
              </a:rPr>
              <a:t>Agustin </a:t>
            </a:r>
            <a:r>
              <a:rPr lang="en-US" sz="2000" dirty="0" err="1">
                <a:solidFill>
                  <a:srgbClr val="4B4D4E"/>
                </a:solidFill>
              </a:rPr>
              <a:t>Pierri</a:t>
            </a:r>
            <a:r>
              <a:rPr lang="en-US" sz="2000" dirty="0">
                <a:solidFill>
                  <a:srgbClr val="4B4D4E"/>
                </a:solidFill>
              </a:rPr>
              <a:t>, </a:t>
            </a:r>
            <a:r>
              <a:rPr lang="en-US" sz="2000" dirty="0" err="1">
                <a:solidFill>
                  <a:srgbClr val="4B4D4E"/>
                </a:solidFill>
              </a:rPr>
              <a:t>Weck</a:t>
            </a:r>
            <a:r>
              <a:rPr lang="en-US" sz="2000" dirty="0">
                <a:solidFill>
                  <a:srgbClr val="4B4D4E"/>
                </a:solidFill>
              </a:rPr>
              <a:t> Laboratori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4D91A06-A6C0-445E-B73B-97317F099C34}"/>
              </a:ext>
            </a:extLst>
          </p:cNvPr>
          <p:cNvSpPr/>
          <p:nvPr/>
        </p:nvSpPr>
        <p:spPr>
          <a:xfrm>
            <a:off x="6818050" y="1198486"/>
            <a:ext cx="5373950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err="1">
                <a:solidFill>
                  <a:srgbClr val="4B4D4E"/>
                </a:solidFill>
              </a:rPr>
              <a:t>Zaneta</a:t>
            </a:r>
            <a:r>
              <a:rPr lang="en-US" sz="2000" dirty="0">
                <a:solidFill>
                  <a:srgbClr val="4B4D4E"/>
                </a:solidFill>
              </a:rPr>
              <a:t> </a:t>
            </a:r>
            <a:r>
              <a:rPr lang="en-US" sz="2000" dirty="0" err="1">
                <a:solidFill>
                  <a:srgbClr val="4B4D4E"/>
                </a:solidFill>
              </a:rPr>
              <a:t>Popovska</a:t>
            </a:r>
            <a:r>
              <a:rPr lang="en-US" sz="2000" dirty="0">
                <a:solidFill>
                  <a:srgbClr val="4B4D4E"/>
                </a:solidFill>
              </a:rPr>
              <a:t>, ANAB</a:t>
            </a:r>
          </a:p>
          <a:p>
            <a:r>
              <a:rPr lang="en-US" sz="2000" dirty="0">
                <a:solidFill>
                  <a:srgbClr val="4B4D4E"/>
                </a:solidFill>
              </a:rPr>
              <a:t>Nicholas Slawson, A2LA</a:t>
            </a:r>
          </a:p>
          <a:p>
            <a:r>
              <a:rPr lang="en-US" sz="2000" dirty="0">
                <a:solidFill>
                  <a:srgbClr val="4B4D4E"/>
                </a:solidFill>
              </a:rPr>
              <a:t>Sarah Wright, APHL</a:t>
            </a:r>
          </a:p>
          <a:p>
            <a:r>
              <a:rPr lang="en-US" sz="2000" dirty="0">
                <a:solidFill>
                  <a:srgbClr val="4B4D4E"/>
                </a:solidFill>
              </a:rPr>
              <a:t>Kathleen Young, PerkinElmer, Inc.</a:t>
            </a:r>
          </a:p>
          <a:p>
            <a:r>
              <a:rPr lang="en-US" sz="2000" dirty="0">
                <a:solidFill>
                  <a:srgbClr val="4B4D4E"/>
                </a:solidFill>
              </a:rPr>
              <a:t>Richard Burrows, Eurofins USA</a:t>
            </a:r>
          </a:p>
          <a:p>
            <a:r>
              <a:rPr lang="en-US" sz="2000" dirty="0">
                <a:solidFill>
                  <a:srgbClr val="4B4D4E"/>
                </a:solidFill>
              </a:rPr>
              <a:t>David Ellis, Midland Scientific</a:t>
            </a:r>
          </a:p>
          <a:p>
            <a:r>
              <a:rPr lang="en-US" sz="2000" dirty="0">
                <a:solidFill>
                  <a:srgbClr val="4B4D4E"/>
                </a:solidFill>
              </a:rPr>
              <a:t>Scott Griggs, ALS Life Sciences</a:t>
            </a:r>
          </a:p>
          <a:p>
            <a:r>
              <a:rPr lang="en-US" sz="2000" dirty="0">
                <a:solidFill>
                  <a:srgbClr val="4B4D4E"/>
                </a:solidFill>
              </a:rPr>
              <a:t>Steve Hooper, </a:t>
            </a:r>
            <a:r>
              <a:rPr lang="en-US" sz="2000" dirty="0" err="1">
                <a:solidFill>
                  <a:srgbClr val="4B4D4E"/>
                </a:solidFill>
              </a:rPr>
              <a:t>Eufofins</a:t>
            </a:r>
            <a:r>
              <a:rPr lang="en-US" sz="2000" dirty="0">
                <a:solidFill>
                  <a:srgbClr val="4B4D4E"/>
                </a:solidFill>
              </a:rPr>
              <a:t> USA</a:t>
            </a:r>
          </a:p>
          <a:p>
            <a:r>
              <a:rPr lang="en-US" sz="2000" dirty="0">
                <a:solidFill>
                  <a:srgbClr val="4B4D4E"/>
                </a:solidFill>
              </a:rPr>
              <a:t>Lisa Race, BSK Associates</a:t>
            </a:r>
          </a:p>
          <a:p>
            <a:r>
              <a:rPr lang="en-US" sz="2000" dirty="0">
                <a:solidFill>
                  <a:srgbClr val="4B4D4E"/>
                </a:solidFill>
              </a:rPr>
              <a:t>Taylor Reynolds, </a:t>
            </a:r>
            <a:r>
              <a:rPr lang="en-US" sz="2000" dirty="0" err="1">
                <a:solidFill>
                  <a:srgbClr val="4B4D4E"/>
                </a:solidFill>
              </a:rPr>
              <a:t>MilliporeSigma</a:t>
            </a:r>
            <a:endParaRPr lang="en-US" sz="2000" dirty="0">
              <a:solidFill>
                <a:srgbClr val="4B4D4E"/>
              </a:solidFill>
            </a:endParaRPr>
          </a:p>
          <a:p>
            <a:r>
              <a:rPr lang="en-US" sz="2000" dirty="0">
                <a:solidFill>
                  <a:srgbClr val="4B4D4E"/>
                </a:solidFill>
              </a:rPr>
              <a:t>Jay Singh, RTI Laboratories</a:t>
            </a:r>
          </a:p>
          <a:p>
            <a:r>
              <a:rPr lang="en-US" sz="2000" dirty="0">
                <a:solidFill>
                  <a:srgbClr val="4B4D4E"/>
                </a:solidFill>
              </a:rPr>
              <a:t>Tarun Anumol, Agilent</a:t>
            </a:r>
          </a:p>
          <a:p>
            <a:r>
              <a:rPr lang="en-US" sz="2000" dirty="0">
                <a:solidFill>
                  <a:srgbClr val="4B4D4E"/>
                </a:solidFill>
              </a:rPr>
              <a:t>Josh Wyeth, </a:t>
            </a:r>
            <a:r>
              <a:rPr lang="en-US" sz="2000" dirty="0" err="1">
                <a:solidFill>
                  <a:srgbClr val="4B4D4E"/>
                </a:solidFill>
              </a:rPr>
              <a:t>Phenova</a:t>
            </a:r>
            <a:endParaRPr lang="en-US" sz="2000" dirty="0">
              <a:solidFill>
                <a:srgbClr val="4B4D4E"/>
              </a:solidFill>
            </a:endParaRPr>
          </a:p>
          <a:p>
            <a:r>
              <a:rPr lang="en-US" sz="2000" dirty="0">
                <a:solidFill>
                  <a:srgbClr val="4B4D4E"/>
                </a:solidFill>
              </a:rPr>
              <a:t>Julia Reynolds, CDC</a:t>
            </a:r>
          </a:p>
          <a:p>
            <a:r>
              <a:rPr lang="en-US" sz="2000" dirty="0">
                <a:solidFill>
                  <a:srgbClr val="4B4D4E"/>
                </a:solidFill>
              </a:rPr>
              <a:t>Stacie Crandall, Hampton Roads Sanitation District</a:t>
            </a:r>
          </a:p>
        </p:txBody>
      </p:sp>
      <p:pic>
        <p:nvPicPr>
          <p:cNvPr id="2" name="Audio 1">
            <a:hlinkClick r:id="" action="ppaction://media"/>
            <a:extLst>
              <a:ext uri="{FF2B5EF4-FFF2-40B4-BE49-F238E27FC236}">
                <a16:creationId xmlns:a16="http://schemas.microsoft.com/office/drawing/2014/main" id="{3A9D7B55-5B86-4403-A52C-A778F985A3C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552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6577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9596"/>
    </mc:Choice>
    <mc:Fallback>
      <p:transition spd="slow" advTm="2959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A69192-D45E-4BCF-857F-AEC53F325A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5959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E70F3C3-45D4-4F8B-8C3F-8EA5BAD7A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3338" y="2152650"/>
            <a:ext cx="9558867" cy="2552700"/>
          </a:xfrm>
        </p:spPr>
        <p:txBody>
          <a:bodyPr vert="horz"/>
          <a:lstStyle/>
          <a:p>
            <a:pPr algn="ctr"/>
            <a:r>
              <a:rPr lang="en-US" dirty="0"/>
              <a:t>Questions / Discussion</a:t>
            </a:r>
            <a:br>
              <a:rPr lang="en-US" dirty="0"/>
            </a:br>
            <a:br>
              <a:rPr lang="en-US" dirty="0"/>
            </a:br>
            <a:r>
              <a:rPr lang="en-US" u="sng" dirty="0"/>
              <a:t>Contact Information:</a:t>
            </a:r>
            <a:br>
              <a:rPr lang="en-US" u="sng" dirty="0"/>
            </a:br>
            <a:br>
              <a:rPr lang="en-US" dirty="0"/>
            </a:br>
            <a:r>
              <a:rPr lang="en-US" dirty="0"/>
              <a:t>Patsy-Root@idexx.com</a:t>
            </a:r>
            <a:br>
              <a:rPr lang="en-US" dirty="0"/>
            </a:br>
            <a:r>
              <a:rPr lang="en-US" dirty="0"/>
              <a:t>207-523-0835</a:t>
            </a:r>
            <a:endParaRPr lang="en-US" u="sng" dirty="0"/>
          </a:p>
        </p:txBody>
      </p:sp>
      <p:pic>
        <p:nvPicPr>
          <p:cNvPr id="4" name="Audio 3">
            <a:hlinkClick r:id="" action="ppaction://media"/>
            <a:extLst>
              <a:ext uri="{FF2B5EF4-FFF2-40B4-BE49-F238E27FC236}">
                <a16:creationId xmlns:a16="http://schemas.microsoft.com/office/drawing/2014/main" id="{C206F8C3-2448-41E6-8092-2B9D09A09865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1552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2900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390"/>
    </mc:Choice>
    <mc:Fallback>
      <p:transition spd="slow" advTm="1539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E0CC54-F881-47DC-A858-3F8BB2717C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E0CC54-F881-47DC-A858-3F8BB2717C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CD754DC-B60A-4AF8-8294-E77FA4C918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DEEA53-D377-4987-8CE0-639FEC5B3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72014"/>
            <a:ext cx="11430000" cy="721289"/>
          </a:xfrm>
        </p:spPr>
        <p:txBody>
          <a:bodyPr/>
          <a:lstStyle/>
          <a:p>
            <a:r>
              <a:rPr lang="en-US" dirty="0"/>
              <a:t>Wastewater surveillance has several advantages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6EC510E-F0C3-4ED0-A6CD-33DC826C0A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211214"/>
            <a:ext cx="5601346" cy="640800"/>
          </a:xfrm>
        </p:spPr>
        <p:txBody>
          <a:bodyPr/>
          <a:lstStyle/>
          <a:p>
            <a:pPr algn="ctr"/>
            <a:r>
              <a:rPr lang="en-US" b="1" dirty="0"/>
              <a:t>Key Advantages of WW Surveillanc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9EE1BE-9E86-415E-B54B-24BF9FF976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852014"/>
            <a:ext cx="6383784" cy="3952800"/>
          </a:xfrm>
        </p:spPr>
        <p:txBody>
          <a:bodyPr/>
          <a:lstStyle/>
          <a:p>
            <a:endParaRPr lang="en-US" dirty="0"/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Independent of healthcare seeking behavior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Data available within days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Pooled sample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Can be used to identify trends at sub-region level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dirty="0">
                <a:solidFill>
                  <a:schemeClr val="accent4"/>
                </a:solidFill>
              </a:rPr>
              <a:t>Can be used to make public health decisions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Inform decisions on public health communication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Monitor the impact of mitigation strategies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Inform decisions on clinical testing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endParaRPr lang="en-US" dirty="0"/>
          </a:p>
          <a:p>
            <a:pPr lvl="1">
              <a:spcBef>
                <a:spcPts val="0"/>
              </a:spcBef>
              <a:spcAft>
                <a:spcPts val="600"/>
              </a:spcAft>
            </a:pPr>
            <a:endParaRPr lang="en-US" dirty="0">
              <a:solidFill>
                <a:schemeClr val="accent4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D7837E-3F11-491C-9A39-4D8E7AE69C4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93792" y="1868800"/>
            <a:ext cx="4172690" cy="205413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03DA6BC-6947-4D70-971C-C24D1015093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29579" y="3836407"/>
            <a:ext cx="4101117" cy="2046979"/>
          </a:xfrm>
          <a:prstGeom prst="rect">
            <a:avLst/>
          </a:prstGeom>
        </p:spPr>
      </p:pic>
      <p:pic>
        <p:nvPicPr>
          <p:cNvPr id="8" name="Audio 7">
            <a:hlinkClick r:id="" action="ppaction://media"/>
            <a:extLst>
              <a:ext uri="{FF2B5EF4-FFF2-40B4-BE49-F238E27FC236}">
                <a16:creationId xmlns:a16="http://schemas.microsoft.com/office/drawing/2014/main" id="{2D163EA5-4466-498F-80ED-68A9C79FE87D}"/>
              </a:ext>
            </a:extLst>
          </p:cNvPr>
          <p:cNvPicPr>
            <a:picLocks noChangeAspect="1"/>
          </p:cNvPicPr>
          <p:nvPr>
            <a:audi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1552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126684"/>
      </p:ext>
    </p:extLst>
  </p:cSld>
  <p:clrMapOvr>
    <a:masterClrMapping/>
  </p:clrMapOvr>
  <p:transition advTm="68634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C960E6-56FB-44F6-AD95-6A229B5EC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al testing and clinical testing are equally important in public health decision-making</a:t>
            </a:r>
          </a:p>
        </p:txBody>
      </p:sp>
      <p:pic>
        <p:nvPicPr>
          <p:cNvPr id="49154" name="Picture 2" descr="Industry Voices—Millions of COVID-19 test swabs are sitting in a warehouse  while shortages needlessly plague the U.S. | FierceHealthcare">
            <a:extLst>
              <a:ext uri="{FF2B5EF4-FFF2-40B4-BE49-F238E27FC236}">
                <a16:creationId xmlns:a16="http://schemas.microsoft.com/office/drawing/2014/main" id="{CD99131A-A16F-4559-A43A-F2C1D5E84902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66" r="17566"/>
          <a:stretch>
            <a:fillRect/>
          </a:stretch>
        </p:blipFill>
        <p:spPr bwMode="auto">
          <a:xfrm>
            <a:off x="457200" y="1533600"/>
            <a:ext cx="4430684" cy="398108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56" name="Picture 4" descr="Maryland Launches COVID-19 Wastewater Sampling Plan | Best States | US News">
            <a:extLst>
              <a:ext uri="{FF2B5EF4-FFF2-40B4-BE49-F238E27FC236}">
                <a16:creationId xmlns:a16="http://schemas.microsoft.com/office/drawing/2014/main" id="{869A4D81-1359-47FF-83DE-6D1A7FA7BE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2309" y="1533600"/>
            <a:ext cx="5275726" cy="3981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EADF489-8E71-46E3-B484-7BA36D9B9DE1}"/>
              </a:ext>
            </a:extLst>
          </p:cNvPr>
          <p:cNvSpPr txBox="1"/>
          <p:nvPr/>
        </p:nvSpPr>
        <p:spPr>
          <a:xfrm>
            <a:off x="457200" y="5740924"/>
            <a:ext cx="4359897" cy="646331"/>
          </a:xfrm>
          <a:prstGeom prst="rect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585A5C"/>
                </a:solidFill>
              </a:rPr>
              <a:t>Human testing performed in a CLIA certified laboratory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2977163-F9BC-4D1E-B018-80F6CAE7E4DA}"/>
              </a:ext>
            </a:extLst>
          </p:cNvPr>
          <p:cNvSpPr txBox="1"/>
          <p:nvPr/>
        </p:nvSpPr>
        <p:spPr>
          <a:xfrm>
            <a:off x="6605048" y="5740923"/>
            <a:ext cx="4359897" cy="646331"/>
          </a:xfrm>
          <a:prstGeom prst="rect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585A5C"/>
                </a:solidFill>
              </a:rPr>
              <a:t>Wastewater testing should be performed in an accredited/certified laboratory </a:t>
            </a:r>
          </a:p>
        </p:txBody>
      </p:sp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E9FDD0F2-B8A2-4257-AC75-3ADC2679B2D3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552238" y="6218238"/>
            <a:ext cx="487362" cy="4873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3825181"/>
      </p:ext>
    </p:extLst>
  </p:cSld>
  <p:clrMapOvr>
    <a:masterClrMapping/>
  </p:clrMapOvr>
  <p:transition advTm="91496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  <p:bldLst>
      <p:bldP spid="6" grpId="0" animBg="1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A380A-FB98-402C-B0C6-59A0738B03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3985"/>
            <a:ext cx="11430000" cy="1005374"/>
          </a:xfrm>
        </p:spPr>
        <p:txBody>
          <a:bodyPr/>
          <a:lstStyle/>
          <a:p>
            <a:r>
              <a:rPr lang="en-US" dirty="0"/>
              <a:t>Accreditation or Certification of labs ensure quality data and reduces erro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401462-BD68-4973-B89A-DF4DDB5D3404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en-US" i="1" dirty="0"/>
          </a:p>
          <a:p>
            <a:pPr marL="0" indent="0">
              <a:buNone/>
            </a:pPr>
            <a:endParaRPr lang="en-US" i="1" dirty="0"/>
          </a:p>
          <a:p>
            <a:pPr marL="0" indent="0">
              <a:buNone/>
            </a:pPr>
            <a:r>
              <a:rPr lang="en-US" i="1" dirty="0"/>
              <a:t>“Laboratory accreditation is a widely accepted process of evaluation of a laboratory’s quality, performance, reliability and efficiency. </a:t>
            </a:r>
          </a:p>
          <a:p>
            <a:pPr marL="0" indent="0">
              <a:buNone/>
            </a:pPr>
            <a:r>
              <a:rPr lang="en-US" i="1" dirty="0"/>
              <a:t>It is a means to promote and enforce better quality in laboratory testing and to ultimately reduce testing errors.”*</a:t>
            </a:r>
          </a:p>
          <a:p>
            <a:pPr marL="0" indent="0">
              <a:buNone/>
            </a:pPr>
            <a:endParaRPr lang="en-US" i="1" dirty="0"/>
          </a:p>
          <a:p>
            <a:pPr marL="0" indent="0" algn="ctr">
              <a:buNone/>
            </a:pPr>
            <a:r>
              <a:rPr lang="en-US" dirty="0"/>
              <a:t>This is true for both Clinical and Environmental laboratories.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endParaRPr lang="en-US" dirty="0"/>
          </a:p>
          <a:p>
            <a:pPr marL="0" indent="0">
              <a:buNone/>
            </a:pPr>
            <a:r>
              <a:rPr lang="en-US" sz="1200" dirty="0">
                <a:hlinkClick r:id="rId4"/>
              </a:rPr>
              <a:t>* https://globalhealthlaboratories.tghn.org/articles/laboratory-accreditation/</a:t>
            </a:r>
            <a:r>
              <a:rPr lang="en-US" sz="1200" dirty="0"/>
              <a:t> </a:t>
            </a:r>
          </a:p>
        </p:txBody>
      </p:sp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D31F380C-B6CB-4AB8-A28F-E75CE8C9760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552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530515"/>
      </p:ext>
    </p:extLst>
  </p:cSld>
  <p:clrMapOvr>
    <a:masterClrMapping/>
  </p:clrMapOvr>
  <p:transition advTm="58617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305300-7B5D-4C66-AF23-A88347EECC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reditation or Certification is applied in other areas of environmental testing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F03B415-E8C4-434D-A164-CA6A035D6CB2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EPA requires accreditation or certification for any laboratory reporting compliance drinking water test results</a:t>
            </a:r>
          </a:p>
          <a:p>
            <a:r>
              <a:rPr lang="en-US" dirty="0"/>
              <a:t>Several states, </a:t>
            </a:r>
            <a:r>
              <a:rPr lang="en-US" i="1" dirty="0"/>
              <a:t>but not all</a:t>
            </a:r>
            <a:r>
              <a:rPr lang="en-US" dirty="0"/>
              <a:t>, require the same for laboratories testing wastewater effluent</a:t>
            </a:r>
          </a:p>
          <a:p>
            <a:r>
              <a:rPr lang="en-US" dirty="0"/>
              <a:t>Many laboratories, </a:t>
            </a:r>
            <a:r>
              <a:rPr lang="en-US" i="1" dirty="0"/>
              <a:t>but not all, </a:t>
            </a:r>
            <a:r>
              <a:rPr lang="en-US" dirty="0"/>
              <a:t>voluntarily adopt accreditation or certification for any testing they perform for projects or customers </a:t>
            </a:r>
          </a:p>
          <a:p>
            <a:r>
              <a:rPr lang="en-US" dirty="0"/>
              <a:t>Some laboratories follow accreditation or certification principles but do not have official recognition</a:t>
            </a:r>
          </a:p>
          <a:p>
            <a:endParaRPr lang="en-US" dirty="0"/>
          </a:p>
          <a:p>
            <a:pPr marL="0" indent="0" algn="ctr">
              <a:buNone/>
            </a:pPr>
            <a:r>
              <a:rPr lang="en-US" dirty="0"/>
              <a:t>ALL these types of laboratories can produce good data, if they have the right tools.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4" name="Audio 3">
            <a:hlinkClick r:id="" action="ppaction://media"/>
            <a:extLst>
              <a:ext uri="{FF2B5EF4-FFF2-40B4-BE49-F238E27FC236}">
                <a16:creationId xmlns:a16="http://schemas.microsoft.com/office/drawing/2014/main" id="{9108C0A2-A0CD-4679-92A6-A30DC15E248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552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383126"/>
      </p:ext>
    </p:extLst>
  </p:cSld>
  <p:clrMapOvr>
    <a:masterClrMapping/>
  </p:clrMapOvr>
  <p:transition advTm="71689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C32A74-F11F-41CB-BB51-2B40A5D434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878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C32A74-F11F-41CB-BB51-2B40A5D434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F602CAB-9FFA-44B4-9098-2237E19E40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D86E62-AD8D-4971-BB8E-B27CA6ADF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laborative development of accreditation checklist</a:t>
            </a:r>
          </a:p>
        </p:txBody>
      </p:sp>
      <p:pic>
        <p:nvPicPr>
          <p:cNvPr id="5" name="Audio 4">
            <a:hlinkClick r:id="" action="ppaction://media"/>
            <a:extLst>
              <a:ext uri="{FF2B5EF4-FFF2-40B4-BE49-F238E27FC236}">
                <a16:creationId xmlns:a16="http://schemas.microsoft.com/office/drawing/2014/main" id="{33943BA8-27DC-4677-824E-1F1B2189A856}"/>
              </a:ext>
            </a:extLst>
          </p:cNvPr>
          <p:cNvPicPr>
            <a:picLocks noChangeAspect="1"/>
          </p:cNvPicPr>
          <p:nvPr>
            <a:audi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11552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372338"/>
      </p:ext>
    </p:extLst>
  </p:cSld>
  <p:clrMapOvr>
    <a:masterClrMapping/>
  </p:clrMapOvr>
  <p:transition advTm="28733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55E05D-8551-4038-8DDD-993ACBB2A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76938"/>
            <a:ext cx="11430000" cy="1143000"/>
          </a:xfrm>
        </p:spPr>
        <p:txBody>
          <a:bodyPr/>
          <a:lstStyle/>
          <a:p>
            <a:r>
              <a:rPr lang="en-US" dirty="0"/>
              <a:t>ACIL and key stakeholders agreed on the need for a WW/COVID laboratory accreditation checkli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F92627-95EA-470C-BA36-D6BB49947FB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81000" y="1403824"/>
            <a:ext cx="11430000" cy="4789585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rgbClr val="00A5E3"/>
                </a:solidFill>
              </a:rPr>
              <a:t>Goal: </a:t>
            </a:r>
            <a:r>
              <a:rPr lang="en-US" dirty="0"/>
              <a:t>To create and promote an accreditation checklist for WW/COVID testing that promotes high quality laboratory processes and procedures; assuring data are fit for purpose </a:t>
            </a:r>
          </a:p>
          <a:p>
            <a:pPr marL="0" indent="0">
              <a:buNone/>
            </a:pPr>
            <a:r>
              <a:rPr lang="en-US" b="1" dirty="0">
                <a:solidFill>
                  <a:srgbClr val="00A5E3"/>
                </a:solidFill>
              </a:rPr>
              <a:t>Team:</a:t>
            </a:r>
          </a:p>
          <a:p>
            <a:r>
              <a:rPr lang="en-US" dirty="0"/>
              <a:t>ACIL ESS – American Council of Independent Laboratories – Environmental Sciences Section, several member laboratories and assessing bodies (auditors)</a:t>
            </a:r>
          </a:p>
          <a:p>
            <a:r>
              <a:rPr lang="en-US" dirty="0"/>
              <a:t>EPA – US Environmental Protection Agency</a:t>
            </a:r>
          </a:p>
          <a:p>
            <a:r>
              <a:rPr lang="en-US" dirty="0"/>
              <a:t>CDC – Centers for Disease Control and Prevention</a:t>
            </a:r>
          </a:p>
          <a:p>
            <a:r>
              <a:rPr lang="en-US" dirty="0"/>
              <a:t>WRF – Water Research Foundation</a:t>
            </a:r>
          </a:p>
          <a:p>
            <a:r>
              <a:rPr lang="en-US" dirty="0"/>
              <a:t>APHL – Association of Public Health Laboratories </a:t>
            </a:r>
          </a:p>
          <a:p>
            <a:r>
              <a:rPr lang="en-US" dirty="0"/>
              <a:t>TNI – The NELAC Institute </a:t>
            </a:r>
          </a:p>
        </p:txBody>
      </p:sp>
      <p:pic>
        <p:nvPicPr>
          <p:cNvPr id="4" name="Audio 3">
            <a:hlinkClick r:id="" action="ppaction://media"/>
            <a:extLst>
              <a:ext uri="{FF2B5EF4-FFF2-40B4-BE49-F238E27FC236}">
                <a16:creationId xmlns:a16="http://schemas.microsoft.com/office/drawing/2014/main" id="{87F59263-7F37-4362-874B-E8AA1EB52322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552238" y="6218238"/>
            <a:ext cx="487362" cy="4873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14507119"/>
      </p:ext>
    </p:extLst>
  </p:cSld>
  <p:clrMapOvr>
    <a:masterClrMapping/>
  </p:clrMapOvr>
  <p:transition advTm="82742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2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10" name="Picture 6" descr="Bullseye Communication: On the Mark Every Time | BOB Search">
            <a:extLst>
              <a:ext uri="{FF2B5EF4-FFF2-40B4-BE49-F238E27FC236}">
                <a16:creationId xmlns:a16="http://schemas.microsoft.com/office/drawing/2014/main" id="{AF849ED2-D586-468A-9A21-4631774941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alphaModFix amt="2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69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5332" y="578301"/>
            <a:ext cx="8194089" cy="6137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16FC2CF-94A7-4CDE-8CB9-EF490F79F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19595"/>
            <a:ext cx="11430000" cy="810066"/>
          </a:xfrm>
        </p:spPr>
        <p:txBody>
          <a:bodyPr/>
          <a:lstStyle/>
          <a:p>
            <a:r>
              <a:rPr lang="en-US" dirty="0"/>
              <a:t>Any testing laboratory or accreditation body can use the WW/COVID checklist to improve their dat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698B1FA-8F97-4A30-A9D8-E9C71C6A796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81000" y="1388723"/>
            <a:ext cx="11430000" cy="452596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uch as:</a:t>
            </a:r>
          </a:p>
          <a:p>
            <a:r>
              <a:rPr lang="en-US" dirty="0"/>
              <a:t>Private labs that are accredited under a National Program, such as ISO 17025 or the TNI Standard</a:t>
            </a:r>
          </a:p>
          <a:p>
            <a:r>
              <a:rPr lang="en-US" dirty="0"/>
              <a:t>Private labs that are certified by a State program</a:t>
            </a:r>
          </a:p>
          <a:p>
            <a:r>
              <a:rPr lang="en-US" dirty="0"/>
              <a:t>Accredited or Certified Public Health environmental labs</a:t>
            </a:r>
          </a:p>
          <a:p>
            <a:r>
              <a:rPr lang="en-US" dirty="0"/>
              <a:t>Accredited or Certified wastewater utility-based labs</a:t>
            </a:r>
          </a:p>
          <a:p>
            <a:r>
              <a:rPr lang="en-US" dirty="0"/>
              <a:t>Non-accredited or certified labs that want high quality assurance of their data, such as academic labs</a:t>
            </a:r>
          </a:p>
          <a:p>
            <a:r>
              <a:rPr lang="en-US" dirty="0"/>
              <a:t>Any type of accreditation or certification body 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/>
              <a:t>The goal is to ensure </a:t>
            </a:r>
            <a:r>
              <a:rPr lang="en-US" u="sng" dirty="0"/>
              <a:t>quality data</a:t>
            </a:r>
            <a:r>
              <a:rPr lang="en-US" dirty="0"/>
              <a:t>, </a:t>
            </a:r>
            <a:r>
              <a:rPr lang="en-US" u="sng" dirty="0"/>
              <a:t>every time</a:t>
            </a:r>
            <a:r>
              <a:rPr lang="en-US" dirty="0"/>
              <a:t>, that’s fit for purpose</a:t>
            </a:r>
          </a:p>
        </p:txBody>
      </p:sp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5245A66A-814B-4FD1-84D9-3F639D895FE6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552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466814"/>
      </p:ext>
    </p:extLst>
  </p:cSld>
  <p:clrMapOvr>
    <a:masterClrMapping/>
  </p:clrMapOvr>
  <p:transition advTm="95971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CA1802CE-B746-42AD-AA21-B5E1EB6581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6719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CA1802CE-B746-42AD-AA21-B5E1EB6581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0031173-5555-4463-B6B0-E2A85ECD1C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kumimoji="0" lang="en-US" sz="32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F73E14-A23B-491C-8F3E-A3BA1911B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50" y="291833"/>
            <a:ext cx="11430000" cy="1053069"/>
          </a:xfrm>
        </p:spPr>
        <p:txBody>
          <a:bodyPr/>
          <a:lstStyle/>
          <a:p>
            <a:r>
              <a:rPr lang="en-US" dirty="0"/>
              <a:t>Confident public health decisions depend on limiting method variation and error – the checklist can hel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C98184-618A-45E4-8636-A37D96B0AC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753392"/>
            <a:ext cx="5601346" cy="640800"/>
          </a:xfrm>
        </p:spPr>
        <p:txBody>
          <a:bodyPr/>
          <a:lstStyle/>
          <a:p>
            <a:pPr algn="ctr"/>
            <a:r>
              <a:rPr lang="en-US" b="1" dirty="0">
                <a:solidFill>
                  <a:srgbClr val="4B4D4E"/>
                </a:solidFill>
              </a:rPr>
              <a:t>Importance of Consistenc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EF7666-DF05-4280-8C59-7D80B730D6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>
              <a:solidFill>
                <a:schemeClr val="tx1">
                  <a:lumMod val="50000"/>
                </a:schemeClr>
              </a:solidFill>
            </a:endParaRPr>
          </a:p>
          <a:p>
            <a:endParaRPr lang="en-US">
              <a:solidFill>
                <a:schemeClr val="tx1">
                  <a:lumMod val="50000"/>
                </a:schemeClr>
              </a:solidFill>
            </a:endParaRPr>
          </a:p>
          <a:p>
            <a:endParaRPr lang="en-US">
              <a:solidFill>
                <a:schemeClr val="tx1">
                  <a:lumMod val="50000"/>
                </a:schemeClr>
              </a:solidFill>
            </a:endParaRPr>
          </a:p>
          <a:p>
            <a:endParaRPr lang="en-US">
              <a:solidFill>
                <a:schemeClr val="tx1">
                  <a:lumMod val="50000"/>
                </a:schemeClr>
              </a:solidFill>
            </a:endParaRPr>
          </a:p>
          <a:p>
            <a:endParaRPr lang="en-US">
              <a:solidFill>
                <a:schemeClr val="tx1">
                  <a:lumMod val="50000"/>
                </a:schemeClr>
              </a:solidFill>
            </a:endParaRPr>
          </a:p>
          <a:p>
            <a:endParaRPr lang="en-US">
              <a:solidFill>
                <a:schemeClr val="tx1">
                  <a:lumMod val="50000"/>
                </a:schemeClr>
              </a:solidFill>
            </a:endParaRPr>
          </a:p>
          <a:p>
            <a:endParaRPr lang="en-US">
              <a:solidFill>
                <a:schemeClr val="tx1">
                  <a:lumMod val="50000"/>
                </a:schemeClr>
              </a:solidFill>
            </a:endParaRPr>
          </a:p>
          <a:p>
            <a:endParaRPr lang="en-US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3B416E-3E29-40DC-8101-CE9C119C1E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9656" y="1756830"/>
            <a:ext cx="5611678" cy="640800"/>
          </a:xfrm>
        </p:spPr>
        <p:txBody>
          <a:bodyPr/>
          <a:lstStyle/>
          <a:p>
            <a:pPr algn="ctr"/>
            <a:r>
              <a:rPr lang="en-US" b="1" dirty="0">
                <a:solidFill>
                  <a:srgbClr val="4B4D4E"/>
                </a:solidFill>
              </a:rPr>
              <a:t>An Audit Checklist can help both labs, auditors and data user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AEEF20-EDA0-40B6-AB62-CE9F365C652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24073" y="2794016"/>
            <a:ext cx="5097262" cy="3450891"/>
          </a:xfrm>
        </p:spPr>
        <p:txBody>
          <a:bodyPr/>
          <a:lstStyle/>
          <a:p>
            <a:pPr marL="274320" indent="-274320"/>
            <a:r>
              <a:rPr lang="en-US" dirty="0">
                <a:solidFill>
                  <a:srgbClr val="4B4D4E"/>
                </a:solidFill>
              </a:rPr>
              <a:t>Ensure QA/QC expectations for each step in an analytical method are clear</a:t>
            </a:r>
          </a:p>
          <a:p>
            <a:pPr marL="274320" indent="-274320"/>
            <a:endParaRPr lang="en-US" dirty="0">
              <a:solidFill>
                <a:srgbClr val="4B4D4E"/>
              </a:solidFill>
            </a:endParaRPr>
          </a:p>
          <a:p>
            <a:pPr marL="274320" indent="-274320"/>
            <a:r>
              <a:rPr lang="en-US" dirty="0">
                <a:solidFill>
                  <a:srgbClr val="4B4D4E"/>
                </a:solidFill>
              </a:rPr>
              <a:t>Simple and clear requirements can help reduce inter- and intra-lab variability</a:t>
            </a:r>
          </a:p>
          <a:p>
            <a:pPr marL="274320" indent="-274320"/>
            <a:endParaRPr lang="en-US" dirty="0">
              <a:solidFill>
                <a:srgbClr val="4B4D4E"/>
              </a:solidFill>
            </a:endParaRPr>
          </a:p>
          <a:p>
            <a:pPr marL="274320" indent="-274320"/>
            <a:r>
              <a:rPr lang="en-US" dirty="0">
                <a:solidFill>
                  <a:srgbClr val="4B4D4E"/>
                </a:solidFill>
              </a:rPr>
              <a:t>Accreditation/Certification assures data users that data are fit for purpose </a:t>
            </a:r>
          </a:p>
          <a:p>
            <a:pPr marL="274320" indent="-274320"/>
            <a:endParaRPr lang="en-US" dirty="0">
              <a:solidFill>
                <a:srgbClr val="4B4D4E"/>
              </a:solidFill>
            </a:endParaRPr>
          </a:p>
        </p:txBody>
      </p:sp>
      <p:pic>
        <p:nvPicPr>
          <p:cNvPr id="7" name="Picture 7" descr="Chart, histogram&#10;&#10;Description automatically generated">
            <a:extLst>
              <a:ext uri="{FF2B5EF4-FFF2-40B4-BE49-F238E27FC236}">
                <a16:creationId xmlns:a16="http://schemas.microsoft.com/office/drawing/2014/main" id="{E9514660-FD9C-4C95-B0AF-E6FD6BE048D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32980"/>
          <a:stretch/>
        </p:blipFill>
        <p:spPr>
          <a:xfrm>
            <a:off x="381134" y="2840741"/>
            <a:ext cx="5397223" cy="219911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BE8877F-8AEE-4BEC-9D5D-C2B24C8C85DD}"/>
              </a:ext>
            </a:extLst>
          </p:cNvPr>
          <p:cNvSpPr txBox="1"/>
          <p:nvPr/>
        </p:nvSpPr>
        <p:spPr>
          <a:xfrm>
            <a:off x="1605975" y="5175232"/>
            <a:ext cx="3442680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4BD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urrent State of the Field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84BD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CE52814D-FB01-4F49-B18F-C743D20D9BA8}"/>
              </a:ext>
            </a:extLst>
          </p:cNvPr>
          <p:cNvSpPr/>
          <p:nvPr/>
        </p:nvSpPr>
        <p:spPr>
          <a:xfrm rot="5400000">
            <a:off x="4706948" y="3987208"/>
            <a:ext cx="2942314" cy="334952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Audio 7">
            <a:hlinkClick r:id="" action="ppaction://media"/>
            <a:extLst>
              <a:ext uri="{FF2B5EF4-FFF2-40B4-BE49-F238E27FC236}">
                <a16:creationId xmlns:a16="http://schemas.microsoft.com/office/drawing/2014/main" id="{FE0EA223-6320-478B-842B-E64F9484F78E}"/>
              </a:ext>
            </a:extLst>
          </p:cNvPr>
          <p:cNvPicPr>
            <a:picLocks noChangeAspect="1"/>
          </p:cNvPicPr>
          <p:nvPr>
            <a:audi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1552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26154"/>
      </p:ext>
    </p:extLst>
  </p:cSld>
  <p:clrMapOvr>
    <a:masterClrMapping/>
  </p:clrMapOvr>
  <p:transition advTm="79422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mHvmIq7_KrC2IjPuv30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mHvmIq7_KrC2IjPuv30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mHvmIq7_KrC2IjPuv30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mHvmIq7_KrC2IjPuv30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rOka0G13xZNYzl0LD8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mHvmIq7_KrC2IjPuv30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EsfuXFZ0vGRcnz53X4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KtOpibPTEq2bSNC1zlC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PdLlGqHCo8B3P8m644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KtOpibPTEq2bSNC1zl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PdLlGqHCo8B3P8m644s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KtOpibPTEq2bSNC1zlC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KtOpibPTEq2bSNC1zlC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k4TvujdNWIeIgnxFx90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8.3|3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Gf8ZilID1L0ZGPpP8E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7|24.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q6B9W8LuOyDc5BGuAYB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yDa3QKIEOFAWfIqq5.n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rOka0G13xZNYzl0LD8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Slides">
  <a:themeElements>
    <a:clrScheme name="CAG customer-facing">
      <a:dk1>
        <a:srgbClr val="4B4D4E"/>
      </a:dk1>
      <a:lt1>
        <a:sysClr val="window" lastClr="FFFFFF"/>
      </a:lt1>
      <a:dk2>
        <a:srgbClr val="00A7B5"/>
      </a:dk2>
      <a:lt2>
        <a:srgbClr val="FFFFFF"/>
      </a:lt2>
      <a:accent1>
        <a:srgbClr val="00A7B5"/>
      </a:accent1>
      <a:accent2>
        <a:srgbClr val="A05EB5"/>
      </a:accent2>
      <a:accent3>
        <a:srgbClr val="84BD00"/>
      </a:accent3>
      <a:accent4>
        <a:srgbClr val="00A3E1"/>
      </a:accent4>
      <a:accent5>
        <a:srgbClr val="F9423A"/>
      </a:accent5>
      <a:accent6>
        <a:srgbClr val="4B4D4E"/>
      </a:accent6>
      <a:hlink>
        <a:srgbClr val="006CA2"/>
      </a:hlink>
      <a:folHlink>
        <a:srgbClr val="F9423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585A5C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DEXX CAG template 2018 wide.ppt [Compatibility Mode]" id="{FE5AEEB4-5657-4E12-8C19-0D0D416E9C85}" vid="{765A87B9-49F0-4393-9418-EAB7D6643C19}"/>
    </a:ext>
  </a:extLst>
</a:theme>
</file>

<file path=ppt/theme/theme10.xml><?xml version="1.0" encoding="utf-8"?>
<a:theme xmlns:a="http://schemas.openxmlformats.org/drawingml/2006/main" name="11_Content Slides">
  <a:themeElements>
    <a:clrScheme name="CAG customer-facing">
      <a:dk1>
        <a:srgbClr val="4B4D4E"/>
      </a:dk1>
      <a:lt1>
        <a:sysClr val="window" lastClr="FFFFFF"/>
      </a:lt1>
      <a:dk2>
        <a:srgbClr val="00A7B5"/>
      </a:dk2>
      <a:lt2>
        <a:srgbClr val="FFFFFF"/>
      </a:lt2>
      <a:accent1>
        <a:srgbClr val="00A7B5"/>
      </a:accent1>
      <a:accent2>
        <a:srgbClr val="A05EB5"/>
      </a:accent2>
      <a:accent3>
        <a:srgbClr val="84BD00"/>
      </a:accent3>
      <a:accent4>
        <a:srgbClr val="00A3E1"/>
      </a:accent4>
      <a:accent5>
        <a:srgbClr val="F9423A"/>
      </a:accent5>
      <a:accent6>
        <a:srgbClr val="4B4D4E"/>
      </a:accent6>
      <a:hlink>
        <a:srgbClr val="006CA2"/>
      </a:hlink>
      <a:folHlink>
        <a:srgbClr val="F9423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585A5C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DEXX CAG template 2018 wide.ppt [Compatibility Mode]" id="{FE5AEEB4-5657-4E12-8C19-0D0D416E9C85}" vid="{765A87B9-49F0-4393-9418-EAB7D6643C19}"/>
    </a:ext>
  </a:extLst>
</a:theme>
</file>

<file path=ppt/theme/theme11.xml><?xml version="1.0" encoding="utf-8"?>
<a:theme xmlns:a="http://schemas.openxmlformats.org/drawingml/2006/main" name="5_Content Slides">
  <a:themeElements>
    <a:clrScheme name="IDEXX - water">
      <a:dk1>
        <a:srgbClr val="97999B"/>
      </a:dk1>
      <a:lt1>
        <a:sysClr val="window" lastClr="FFFFFF"/>
      </a:lt1>
      <a:dk2>
        <a:srgbClr val="00A3E1"/>
      </a:dk2>
      <a:lt2>
        <a:srgbClr val="FFFFFF"/>
      </a:lt2>
      <a:accent1>
        <a:srgbClr val="F9423A"/>
      </a:accent1>
      <a:accent2>
        <a:srgbClr val="00A7B5"/>
      </a:accent2>
      <a:accent3>
        <a:srgbClr val="8C8279"/>
      </a:accent3>
      <a:accent4>
        <a:srgbClr val="84BD00"/>
      </a:accent4>
      <a:accent5>
        <a:srgbClr val="00A3E1"/>
      </a:accent5>
      <a:accent6>
        <a:srgbClr val="EF9600"/>
      </a:accent6>
      <a:hlink>
        <a:srgbClr val="00A3E1"/>
      </a:hlink>
      <a:folHlink>
        <a:srgbClr val="97999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DE025_ppt_template-1.8-water.potx" id="{13F4969E-03D9-4F08-BFC9-0607606B8B7D}" vid="{4D891514-06E5-46AE-8086-DCE30FFCD453}"/>
    </a:ext>
  </a:extLst>
</a:theme>
</file>

<file path=ppt/theme/theme12.xml><?xml version="1.0" encoding="utf-8"?>
<a:theme xmlns:a="http://schemas.openxmlformats.org/drawingml/2006/main" name="6_Content Slides">
  <a:themeElements>
    <a:clrScheme name="CAG customer-facing">
      <a:dk1>
        <a:srgbClr val="4B4D4E"/>
      </a:dk1>
      <a:lt1>
        <a:sysClr val="window" lastClr="FFFFFF"/>
      </a:lt1>
      <a:dk2>
        <a:srgbClr val="00A7B5"/>
      </a:dk2>
      <a:lt2>
        <a:srgbClr val="FFFFFF"/>
      </a:lt2>
      <a:accent1>
        <a:srgbClr val="00A7B5"/>
      </a:accent1>
      <a:accent2>
        <a:srgbClr val="A05EB5"/>
      </a:accent2>
      <a:accent3>
        <a:srgbClr val="84BD00"/>
      </a:accent3>
      <a:accent4>
        <a:srgbClr val="00A3E1"/>
      </a:accent4>
      <a:accent5>
        <a:srgbClr val="F9423A"/>
      </a:accent5>
      <a:accent6>
        <a:srgbClr val="4B4D4E"/>
      </a:accent6>
      <a:hlink>
        <a:srgbClr val="006CA2"/>
      </a:hlink>
      <a:folHlink>
        <a:srgbClr val="F9423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585A5C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DEXX CAG template 2018 wide.ppt [Compatibility Mode]" id="{FE5AEEB4-5657-4E12-8C19-0D0D416E9C85}" vid="{765A87B9-49F0-4393-9418-EAB7D6643C19}"/>
    </a:ext>
  </a:extLst>
</a:theme>
</file>

<file path=ppt/theme/theme13.xml><?xml version="1.0" encoding="utf-8"?>
<a:theme xmlns:a="http://schemas.openxmlformats.org/drawingml/2006/main" name="7_Content Slides">
  <a:themeElements>
    <a:clrScheme name="CAG customer-facing">
      <a:dk1>
        <a:srgbClr val="4B4D4E"/>
      </a:dk1>
      <a:lt1>
        <a:sysClr val="window" lastClr="FFFFFF"/>
      </a:lt1>
      <a:dk2>
        <a:srgbClr val="00A7B5"/>
      </a:dk2>
      <a:lt2>
        <a:srgbClr val="FFFFFF"/>
      </a:lt2>
      <a:accent1>
        <a:srgbClr val="00A7B5"/>
      </a:accent1>
      <a:accent2>
        <a:srgbClr val="A05EB5"/>
      </a:accent2>
      <a:accent3>
        <a:srgbClr val="84BD00"/>
      </a:accent3>
      <a:accent4>
        <a:srgbClr val="00A3E1"/>
      </a:accent4>
      <a:accent5>
        <a:srgbClr val="F9423A"/>
      </a:accent5>
      <a:accent6>
        <a:srgbClr val="4B4D4E"/>
      </a:accent6>
      <a:hlink>
        <a:srgbClr val="006CA2"/>
      </a:hlink>
      <a:folHlink>
        <a:srgbClr val="F9423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585A5C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DEXX CAG template 2018 wide.ppt [Compatibility Mode]" id="{FE5AEEB4-5657-4E12-8C19-0D0D416E9C85}" vid="{765A87B9-49F0-4393-9418-EAB7D6643C19}"/>
    </a:ext>
  </a:extLst>
</a:theme>
</file>

<file path=ppt/theme/theme14.xml><?xml version="1.0" encoding="utf-8"?>
<a:theme xmlns:a="http://schemas.openxmlformats.org/drawingml/2006/main" name="1_Divider Slide">
  <a:themeElements>
    <a:clrScheme name="CAG customer-facing">
      <a:dk1>
        <a:srgbClr val="000000"/>
      </a:dk1>
      <a:lt1>
        <a:sysClr val="window" lastClr="FFFFFF"/>
      </a:lt1>
      <a:dk2>
        <a:srgbClr val="00A7B5"/>
      </a:dk2>
      <a:lt2>
        <a:srgbClr val="FFFFFF"/>
      </a:lt2>
      <a:accent1>
        <a:srgbClr val="00A7B5"/>
      </a:accent1>
      <a:accent2>
        <a:srgbClr val="A05EB5"/>
      </a:accent2>
      <a:accent3>
        <a:srgbClr val="84BD00"/>
      </a:accent3>
      <a:accent4>
        <a:srgbClr val="00A3E1"/>
      </a:accent4>
      <a:accent5>
        <a:srgbClr val="F9423A"/>
      </a:accent5>
      <a:accent6>
        <a:srgbClr val="4B4D4E"/>
      </a:accent6>
      <a:hlink>
        <a:srgbClr val="006CA2"/>
      </a:hlink>
      <a:folHlink>
        <a:srgbClr val="F9423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DEXX CAG template 2018 wide.ppt [Compatibility Mode]" id="{FE5AEEB4-5657-4E12-8C19-0D0D416E9C85}" vid="{563AEAB6-EF86-4886-AB24-C6BC1C943470}"/>
    </a:ext>
  </a:extLst>
</a:theme>
</file>

<file path=ppt/theme/theme15.xml><?xml version="1.0" encoding="utf-8"?>
<a:theme xmlns:a="http://schemas.openxmlformats.org/drawingml/2006/main" name="8_Content Slides">
  <a:themeElements>
    <a:clrScheme name="CAG customer-facing">
      <a:dk1>
        <a:srgbClr val="4B4D4E"/>
      </a:dk1>
      <a:lt1>
        <a:sysClr val="window" lastClr="FFFFFF"/>
      </a:lt1>
      <a:dk2>
        <a:srgbClr val="00A7B5"/>
      </a:dk2>
      <a:lt2>
        <a:srgbClr val="FFFFFF"/>
      </a:lt2>
      <a:accent1>
        <a:srgbClr val="00A7B5"/>
      </a:accent1>
      <a:accent2>
        <a:srgbClr val="A05EB5"/>
      </a:accent2>
      <a:accent3>
        <a:srgbClr val="84BD00"/>
      </a:accent3>
      <a:accent4>
        <a:srgbClr val="00A3E1"/>
      </a:accent4>
      <a:accent5>
        <a:srgbClr val="F9423A"/>
      </a:accent5>
      <a:accent6>
        <a:srgbClr val="4B4D4E"/>
      </a:accent6>
      <a:hlink>
        <a:srgbClr val="006CA2"/>
      </a:hlink>
      <a:folHlink>
        <a:srgbClr val="F9423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585A5C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DEXX CAG template 2018 wide.ppt [Compatibility Mode]" id="{FE5AEEB4-5657-4E12-8C19-0D0D416E9C85}" vid="{765A87B9-49F0-4393-9418-EAB7D6643C19}"/>
    </a:ext>
  </a:extLst>
</a:theme>
</file>

<file path=ppt/theme/theme16.xml><?xml version="1.0" encoding="utf-8"?>
<a:theme xmlns:a="http://schemas.openxmlformats.org/drawingml/2006/main" name="9_Content Slides">
  <a:themeElements>
    <a:clrScheme name="CAG customer-facing">
      <a:dk1>
        <a:srgbClr val="4B4D4E"/>
      </a:dk1>
      <a:lt1>
        <a:sysClr val="window" lastClr="FFFFFF"/>
      </a:lt1>
      <a:dk2>
        <a:srgbClr val="00A7B5"/>
      </a:dk2>
      <a:lt2>
        <a:srgbClr val="FFFFFF"/>
      </a:lt2>
      <a:accent1>
        <a:srgbClr val="00A7B5"/>
      </a:accent1>
      <a:accent2>
        <a:srgbClr val="A05EB5"/>
      </a:accent2>
      <a:accent3>
        <a:srgbClr val="84BD00"/>
      </a:accent3>
      <a:accent4>
        <a:srgbClr val="00A3E1"/>
      </a:accent4>
      <a:accent5>
        <a:srgbClr val="F9423A"/>
      </a:accent5>
      <a:accent6>
        <a:srgbClr val="4B4D4E"/>
      </a:accent6>
      <a:hlink>
        <a:srgbClr val="006CA2"/>
      </a:hlink>
      <a:folHlink>
        <a:srgbClr val="F9423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585A5C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DEXX CAG template 2018 wide.ppt [Compatibility Mode]" id="{FE5AEEB4-5657-4E12-8C19-0D0D416E9C85}" vid="{765A87B9-49F0-4393-9418-EAB7D6643C19}"/>
    </a:ext>
  </a:extLst>
</a:theme>
</file>

<file path=ppt/theme/theme17.xml><?xml version="1.0" encoding="utf-8"?>
<a:theme xmlns:a="http://schemas.openxmlformats.org/drawingml/2006/main" name="10_Content Slides">
  <a:themeElements>
    <a:clrScheme name="CAG customer-facing">
      <a:dk1>
        <a:srgbClr val="4B4D4E"/>
      </a:dk1>
      <a:lt1>
        <a:sysClr val="window" lastClr="FFFFFF"/>
      </a:lt1>
      <a:dk2>
        <a:srgbClr val="00A7B5"/>
      </a:dk2>
      <a:lt2>
        <a:srgbClr val="FFFFFF"/>
      </a:lt2>
      <a:accent1>
        <a:srgbClr val="00A7B5"/>
      </a:accent1>
      <a:accent2>
        <a:srgbClr val="A05EB5"/>
      </a:accent2>
      <a:accent3>
        <a:srgbClr val="84BD00"/>
      </a:accent3>
      <a:accent4>
        <a:srgbClr val="00A3E1"/>
      </a:accent4>
      <a:accent5>
        <a:srgbClr val="F9423A"/>
      </a:accent5>
      <a:accent6>
        <a:srgbClr val="4B4D4E"/>
      </a:accent6>
      <a:hlink>
        <a:srgbClr val="006CA2"/>
      </a:hlink>
      <a:folHlink>
        <a:srgbClr val="F9423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585A5C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DEXX CAG template 2018 wide.ppt [Compatibility Mode]" id="{FE5AEEB4-5657-4E12-8C19-0D0D416E9C85}" vid="{765A87B9-49F0-4393-9418-EAB7D6643C19}"/>
    </a:ext>
  </a:extLst>
</a:theme>
</file>

<file path=ppt/theme/theme18.xml><?xml version="1.0" encoding="utf-8"?>
<a:theme xmlns:a="http://schemas.openxmlformats.org/drawingml/2006/main" name="12_Content Slides">
  <a:themeElements>
    <a:clrScheme name="CAG customer-facing">
      <a:dk1>
        <a:srgbClr val="4B4D4E"/>
      </a:dk1>
      <a:lt1>
        <a:sysClr val="window" lastClr="FFFFFF"/>
      </a:lt1>
      <a:dk2>
        <a:srgbClr val="00A7B5"/>
      </a:dk2>
      <a:lt2>
        <a:srgbClr val="FFFFFF"/>
      </a:lt2>
      <a:accent1>
        <a:srgbClr val="00A7B5"/>
      </a:accent1>
      <a:accent2>
        <a:srgbClr val="A05EB5"/>
      </a:accent2>
      <a:accent3>
        <a:srgbClr val="84BD00"/>
      </a:accent3>
      <a:accent4>
        <a:srgbClr val="00A3E1"/>
      </a:accent4>
      <a:accent5>
        <a:srgbClr val="F9423A"/>
      </a:accent5>
      <a:accent6>
        <a:srgbClr val="4B4D4E"/>
      </a:accent6>
      <a:hlink>
        <a:srgbClr val="006CA2"/>
      </a:hlink>
      <a:folHlink>
        <a:srgbClr val="F9423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585A5C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DEXX CAG template 2018 wide.ppt [Compatibility Mode]" id="{FE5AEEB4-5657-4E12-8C19-0D0D416E9C85}" vid="{765A87B9-49F0-4393-9418-EAB7D6643C19}"/>
    </a:ext>
  </a:extLst>
</a:theme>
</file>

<file path=ppt/theme/theme19.xml><?xml version="1.0" encoding="utf-8"?>
<a:theme xmlns:a="http://schemas.openxmlformats.org/drawingml/2006/main" name="Office Theme">
  <a:themeElements>
    <a:clrScheme name="CAG customer-facing">
      <a:dk1>
        <a:srgbClr val="4B4D4E"/>
      </a:dk1>
      <a:lt1>
        <a:sysClr val="window" lastClr="FFFFFF"/>
      </a:lt1>
      <a:dk2>
        <a:srgbClr val="00A7B5"/>
      </a:dk2>
      <a:lt2>
        <a:srgbClr val="FFFFFF"/>
      </a:lt2>
      <a:accent1>
        <a:srgbClr val="00A7B5"/>
      </a:accent1>
      <a:accent2>
        <a:srgbClr val="A05EB5"/>
      </a:accent2>
      <a:accent3>
        <a:srgbClr val="84BD00"/>
      </a:accent3>
      <a:accent4>
        <a:srgbClr val="00A3E1"/>
      </a:accent4>
      <a:accent5>
        <a:srgbClr val="F9423A"/>
      </a:accent5>
      <a:accent6>
        <a:srgbClr val="4B4D4E"/>
      </a:accent6>
      <a:hlink>
        <a:srgbClr val="006CA2"/>
      </a:hlink>
      <a:folHlink>
        <a:srgbClr val="F9423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itle Slides">
  <a:themeElements>
    <a:clrScheme name="CAG customer-facing">
      <a:dk1>
        <a:srgbClr val="4B4D4E"/>
      </a:dk1>
      <a:lt1>
        <a:sysClr val="window" lastClr="FFFFFF"/>
      </a:lt1>
      <a:dk2>
        <a:srgbClr val="00A7B5"/>
      </a:dk2>
      <a:lt2>
        <a:srgbClr val="FFFFFF"/>
      </a:lt2>
      <a:accent1>
        <a:srgbClr val="00A7B5"/>
      </a:accent1>
      <a:accent2>
        <a:srgbClr val="A05EB5"/>
      </a:accent2>
      <a:accent3>
        <a:srgbClr val="84BD00"/>
      </a:accent3>
      <a:accent4>
        <a:srgbClr val="00A3E1"/>
      </a:accent4>
      <a:accent5>
        <a:srgbClr val="F9423A"/>
      </a:accent5>
      <a:accent6>
        <a:srgbClr val="4B4D4E"/>
      </a:accent6>
      <a:hlink>
        <a:srgbClr val="006CA2"/>
      </a:hlink>
      <a:folHlink>
        <a:srgbClr val="F9423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DEXX CAG template 2018 wide.ppt [Compatibility Mode]" id="{FE5AEEB4-5657-4E12-8C19-0D0D416E9C85}" vid="{FEFFCE06-1BF6-46B8-BE59-18015802F71B}"/>
    </a:ext>
  </a:extLst>
</a:theme>
</file>

<file path=ppt/theme/theme3.xml><?xml version="1.0" encoding="utf-8"?>
<a:theme xmlns:a="http://schemas.openxmlformats.org/drawingml/2006/main" name="Title Slides">
  <a:themeElements>
    <a:clrScheme name="CAG customer-facing">
      <a:dk1>
        <a:srgbClr val="4B4D4E"/>
      </a:dk1>
      <a:lt1>
        <a:sysClr val="window" lastClr="FFFFFF"/>
      </a:lt1>
      <a:dk2>
        <a:srgbClr val="00A7B5"/>
      </a:dk2>
      <a:lt2>
        <a:srgbClr val="FFFFFF"/>
      </a:lt2>
      <a:accent1>
        <a:srgbClr val="00A7B5"/>
      </a:accent1>
      <a:accent2>
        <a:srgbClr val="A05EB5"/>
      </a:accent2>
      <a:accent3>
        <a:srgbClr val="84BD00"/>
      </a:accent3>
      <a:accent4>
        <a:srgbClr val="00A3E1"/>
      </a:accent4>
      <a:accent5>
        <a:srgbClr val="F9423A"/>
      </a:accent5>
      <a:accent6>
        <a:srgbClr val="4B4D4E"/>
      </a:accent6>
      <a:hlink>
        <a:srgbClr val="006CA2"/>
      </a:hlink>
      <a:folHlink>
        <a:srgbClr val="F9423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DEXX CAG template 2018 wide.ppt [Compatibility Mode]" id="{FE5AEEB4-5657-4E12-8C19-0D0D416E9C85}" vid="{FEFFCE06-1BF6-46B8-BE59-18015802F71B}"/>
    </a:ext>
  </a:extLst>
</a:theme>
</file>

<file path=ppt/theme/theme4.xml><?xml version="1.0" encoding="utf-8"?>
<a:theme xmlns:a="http://schemas.openxmlformats.org/drawingml/2006/main" name="Divider Slide">
  <a:themeElements>
    <a:clrScheme name="CAG customer-facing">
      <a:dk1>
        <a:srgbClr val="000000"/>
      </a:dk1>
      <a:lt1>
        <a:sysClr val="window" lastClr="FFFFFF"/>
      </a:lt1>
      <a:dk2>
        <a:srgbClr val="00A7B5"/>
      </a:dk2>
      <a:lt2>
        <a:srgbClr val="FFFFFF"/>
      </a:lt2>
      <a:accent1>
        <a:srgbClr val="00A7B5"/>
      </a:accent1>
      <a:accent2>
        <a:srgbClr val="A05EB5"/>
      </a:accent2>
      <a:accent3>
        <a:srgbClr val="84BD00"/>
      </a:accent3>
      <a:accent4>
        <a:srgbClr val="00A3E1"/>
      </a:accent4>
      <a:accent5>
        <a:srgbClr val="F9423A"/>
      </a:accent5>
      <a:accent6>
        <a:srgbClr val="4B4D4E"/>
      </a:accent6>
      <a:hlink>
        <a:srgbClr val="006CA2"/>
      </a:hlink>
      <a:folHlink>
        <a:srgbClr val="F9423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DEXX CAG template 2018 wide.ppt [Compatibility Mode]" id="{FE5AEEB4-5657-4E12-8C19-0D0D416E9C85}" vid="{563AEAB6-EF86-4886-AB24-C6BC1C943470}"/>
    </a:ext>
  </a:extLst>
</a:theme>
</file>

<file path=ppt/theme/theme5.xml><?xml version="1.0" encoding="utf-8"?>
<a:theme xmlns:a="http://schemas.openxmlformats.org/drawingml/2006/main" name="1_Content Slides">
  <a:themeElements>
    <a:clrScheme name="CAG customer-facing">
      <a:dk1>
        <a:srgbClr val="4B4D4E"/>
      </a:dk1>
      <a:lt1>
        <a:sysClr val="window" lastClr="FFFFFF"/>
      </a:lt1>
      <a:dk2>
        <a:srgbClr val="00A7B5"/>
      </a:dk2>
      <a:lt2>
        <a:srgbClr val="FFFFFF"/>
      </a:lt2>
      <a:accent1>
        <a:srgbClr val="00A7B5"/>
      </a:accent1>
      <a:accent2>
        <a:srgbClr val="A05EB5"/>
      </a:accent2>
      <a:accent3>
        <a:srgbClr val="84BD00"/>
      </a:accent3>
      <a:accent4>
        <a:srgbClr val="00A3E1"/>
      </a:accent4>
      <a:accent5>
        <a:srgbClr val="F9423A"/>
      </a:accent5>
      <a:accent6>
        <a:srgbClr val="4B4D4E"/>
      </a:accent6>
      <a:hlink>
        <a:srgbClr val="006CA2"/>
      </a:hlink>
      <a:folHlink>
        <a:srgbClr val="F9423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585A5C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DEXX CAG template 2018 wide.ppt [Compatibility Mode]" id="{FE5AEEB4-5657-4E12-8C19-0D0D416E9C85}" vid="{765A87B9-49F0-4393-9418-EAB7D6643C19}"/>
    </a:ext>
  </a:extLst>
</a:theme>
</file>

<file path=ppt/theme/theme6.xml><?xml version="1.0" encoding="utf-8"?>
<a:theme xmlns:a="http://schemas.openxmlformats.org/drawingml/2006/main" name="2_Content Slides">
  <a:themeElements>
    <a:clrScheme name="IDEXX - water">
      <a:dk1>
        <a:srgbClr val="97999B"/>
      </a:dk1>
      <a:lt1>
        <a:sysClr val="window" lastClr="FFFFFF"/>
      </a:lt1>
      <a:dk2>
        <a:srgbClr val="00A3E1"/>
      </a:dk2>
      <a:lt2>
        <a:srgbClr val="FFFFFF"/>
      </a:lt2>
      <a:accent1>
        <a:srgbClr val="F9423A"/>
      </a:accent1>
      <a:accent2>
        <a:srgbClr val="00A7B5"/>
      </a:accent2>
      <a:accent3>
        <a:srgbClr val="8C8279"/>
      </a:accent3>
      <a:accent4>
        <a:srgbClr val="84BD00"/>
      </a:accent4>
      <a:accent5>
        <a:srgbClr val="00A3E1"/>
      </a:accent5>
      <a:accent6>
        <a:srgbClr val="EF9600"/>
      </a:accent6>
      <a:hlink>
        <a:srgbClr val="00A3E1"/>
      </a:hlink>
      <a:folHlink>
        <a:srgbClr val="97999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DE025_ppt_template-1.8-water.potx" id="{13F4969E-03D9-4F08-BFC9-0607606B8B7D}" vid="{4D891514-06E5-46AE-8086-DCE30FFCD453}"/>
    </a:ext>
  </a:extLst>
</a:theme>
</file>

<file path=ppt/theme/theme7.xml><?xml version="1.0" encoding="utf-8"?>
<a:theme xmlns:a="http://schemas.openxmlformats.org/drawingml/2006/main" name="13_Content Slides">
  <a:themeElements>
    <a:clrScheme name="IDEXX - water">
      <a:dk1>
        <a:srgbClr val="97999B"/>
      </a:dk1>
      <a:lt1>
        <a:sysClr val="window" lastClr="FFFFFF"/>
      </a:lt1>
      <a:dk2>
        <a:srgbClr val="00A3E1"/>
      </a:dk2>
      <a:lt2>
        <a:srgbClr val="FFFFFF"/>
      </a:lt2>
      <a:accent1>
        <a:srgbClr val="F9423A"/>
      </a:accent1>
      <a:accent2>
        <a:srgbClr val="00A7B5"/>
      </a:accent2>
      <a:accent3>
        <a:srgbClr val="8C8279"/>
      </a:accent3>
      <a:accent4>
        <a:srgbClr val="84BD00"/>
      </a:accent4>
      <a:accent5>
        <a:srgbClr val="00A3E1"/>
      </a:accent5>
      <a:accent6>
        <a:srgbClr val="EF9600"/>
      </a:accent6>
      <a:hlink>
        <a:srgbClr val="00A3E1"/>
      </a:hlink>
      <a:folHlink>
        <a:srgbClr val="97999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DE025_ppt_template-1.8-water.potx" id="{13F4969E-03D9-4F08-BFC9-0607606B8B7D}" vid="{4D891514-06E5-46AE-8086-DCE30FFCD453}"/>
    </a:ext>
  </a:extLst>
</a:theme>
</file>

<file path=ppt/theme/theme8.xml><?xml version="1.0" encoding="utf-8"?>
<a:theme xmlns:a="http://schemas.openxmlformats.org/drawingml/2006/main" name="3_Content Slides">
  <a:themeElements>
    <a:clrScheme name="IDEXX - water">
      <a:dk1>
        <a:srgbClr val="97999B"/>
      </a:dk1>
      <a:lt1>
        <a:sysClr val="window" lastClr="FFFFFF"/>
      </a:lt1>
      <a:dk2>
        <a:srgbClr val="00A3E1"/>
      </a:dk2>
      <a:lt2>
        <a:srgbClr val="FFFFFF"/>
      </a:lt2>
      <a:accent1>
        <a:srgbClr val="F9423A"/>
      </a:accent1>
      <a:accent2>
        <a:srgbClr val="00A7B5"/>
      </a:accent2>
      <a:accent3>
        <a:srgbClr val="8C8279"/>
      </a:accent3>
      <a:accent4>
        <a:srgbClr val="84BD00"/>
      </a:accent4>
      <a:accent5>
        <a:srgbClr val="00A3E1"/>
      </a:accent5>
      <a:accent6>
        <a:srgbClr val="EF9600"/>
      </a:accent6>
      <a:hlink>
        <a:srgbClr val="00A3E1"/>
      </a:hlink>
      <a:folHlink>
        <a:srgbClr val="97999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DE025_ppt_template-1.8-water.potx" id="{13F4969E-03D9-4F08-BFC9-0607606B8B7D}" vid="{4D891514-06E5-46AE-8086-DCE30FFCD453}"/>
    </a:ext>
  </a:extLst>
</a:theme>
</file>

<file path=ppt/theme/theme9.xml><?xml version="1.0" encoding="utf-8"?>
<a:theme xmlns:a="http://schemas.openxmlformats.org/drawingml/2006/main" name="4_Content Slides">
  <a:themeElements>
    <a:clrScheme name="IDEXX - water">
      <a:dk1>
        <a:srgbClr val="97999B"/>
      </a:dk1>
      <a:lt1>
        <a:sysClr val="window" lastClr="FFFFFF"/>
      </a:lt1>
      <a:dk2>
        <a:srgbClr val="00A3E1"/>
      </a:dk2>
      <a:lt2>
        <a:srgbClr val="FFFFFF"/>
      </a:lt2>
      <a:accent1>
        <a:srgbClr val="F9423A"/>
      </a:accent1>
      <a:accent2>
        <a:srgbClr val="00A7B5"/>
      </a:accent2>
      <a:accent3>
        <a:srgbClr val="8C8279"/>
      </a:accent3>
      <a:accent4>
        <a:srgbClr val="84BD00"/>
      </a:accent4>
      <a:accent5>
        <a:srgbClr val="00A3E1"/>
      </a:accent5>
      <a:accent6>
        <a:srgbClr val="EF9600"/>
      </a:accent6>
      <a:hlink>
        <a:srgbClr val="00A3E1"/>
      </a:hlink>
      <a:folHlink>
        <a:srgbClr val="97999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DE025_ppt_template-1.8-water.potx" id="{13F4969E-03D9-4F08-BFC9-0607606B8B7D}" vid="{4D891514-06E5-46AE-8086-DCE30FFCD45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BC406A5A9E3A4AB3E2F283CDE17502" ma:contentTypeVersion="13" ma:contentTypeDescription="Create a new document." ma:contentTypeScope="" ma:versionID="6e7d69dfc57528c0b9fc35d683505241">
  <xsd:schema xmlns:xsd="http://www.w3.org/2001/XMLSchema" xmlns:xs="http://www.w3.org/2001/XMLSchema" xmlns:p="http://schemas.microsoft.com/office/2006/metadata/properties" xmlns:ns1="http://schemas.microsoft.com/sharepoint/v3" xmlns:ns2="0e9f4e3a-3c14-4d41-9da6-15112a1c93f6" xmlns:ns3="edf6046d-36ec-443d-85c9-111ea065df61" targetNamespace="http://schemas.microsoft.com/office/2006/metadata/properties" ma:root="true" ma:fieldsID="8a7319064ea105e871defe97494aa897" ns1:_="" ns2:_="" ns3:_="">
    <xsd:import namespace="http://schemas.microsoft.com/sharepoint/v3"/>
    <xsd:import namespace="0e9f4e3a-3c14-4d41-9da6-15112a1c93f6"/>
    <xsd:import namespace="edf6046d-36ec-443d-85c9-111ea065df6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9f4e3a-3c14-4d41-9da6-15112a1c93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f6046d-36ec-443d-85c9-111ea065df6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DFB5EFE0-C88F-4AD2-931E-41702101FD3D}"/>
</file>

<file path=customXml/itemProps2.xml><?xml version="1.0" encoding="utf-8"?>
<ds:datastoreItem xmlns:ds="http://schemas.openxmlformats.org/officeDocument/2006/customXml" ds:itemID="{0BC0E12B-7FEE-43E1-95EF-47D37DAD066F}"/>
</file>

<file path=customXml/itemProps3.xml><?xml version="1.0" encoding="utf-8"?>
<ds:datastoreItem xmlns:ds="http://schemas.openxmlformats.org/officeDocument/2006/customXml" ds:itemID="{E4D107C6-710F-444F-B9FF-2F4DABA66349}"/>
</file>

<file path=docProps/app.xml><?xml version="1.0" encoding="utf-8"?>
<Properties xmlns="http://schemas.openxmlformats.org/officeDocument/2006/extended-properties" xmlns:vt="http://schemas.openxmlformats.org/officeDocument/2006/docPropsVTypes">
  <Template>Content Slides</Template>
  <TotalTime>4589</TotalTime>
  <Words>1104</Words>
  <Application>Microsoft Office PowerPoint</Application>
  <PresentationFormat>Widescreen</PresentationFormat>
  <Paragraphs>154</Paragraphs>
  <Slides>15</Slides>
  <Notes>2</Notes>
  <HiddenSlides>0</HiddenSlides>
  <MMClips>15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7" baseType="lpstr">
      <vt:lpstr>Arial</vt:lpstr>
      <vt:lpstr>Calibri</vt:lpstr>
      <vt:lpstr>Courier New</vt:lpstr>
      <vt:lpstr>Content Slides</vt:lpstr>
      <vt:lpstr>1_Title Slides</vt:lpstr>
      <vt:lpstr>Title Slides</vt:lpstr>
      <vt:lpstr>Divider Slide</vt:lpstr>
      <vt:lpstr>1_Content Slides</vt:lpstr>
      <vt:lpstr>2_Content Slides</vt:lpstr>
      <vt:lpstr>13_Content Slides</vt:lpstr>
      <vt:lpstr>3_Content Slides</vt:lpstr>
      <vt:lpstr>4_Content Slides</vt:lpstr>
      <vt:lpstr>11_Content Slides</vt:lpstr>
      <vt:lpstr>5_Content Slides</vt:lpstr>
      <vt:lpstr>6_Content Slides</vt:lpstr>
      <vt:lpstr>7_Content Slides</vt:lpstr>
      <vt:lpstr>1_Divider Slide</vt:lpstr>
      <vt:lpstr>8_Content Slides</vt:lpstr>
      <vt:lpstr>9_Content Slides</vt:lpstr>
      <vt:lpstr>10_Content Slides</vt:lpstr>
      <vt:lpstr>12_Content Slides</vt:lpstr>
      <vt:lpstr>think-cell Slide</vt:lpstr>
      <vt:lpstr>Wastewater Surveillance for SARS-CoV-2</vt:lpstr>
      <vt:lpstr>Wastewater surveillance has several advantages </vt:lpstr>
      <vt:lpstr>Environmental testing and clinical testing are equally important in public health decision-making</vt:lpstr>
      <vt:lpstr>Accreditation or Certification of labs ensure quality data and reduces error</vt:lpstr>
      <vt:lpstr>Accreditation or Certification is applied in other areas of environmental testing</vt:lpstr>
      <vt:lpstr>Collaborative development of accreditation checklist</vt:lpstr>
      <vt:lpstr>ACIL and key stakeholders agreed on the need for a WW/COVID laboratory accreditation checklist</vt:lpstr>
      <vt:lpstr>Any testing laboratory or accreditation body can use the WW/COVID checklist to improve their data</vt:lpstr>
      <vt:lpstr>Confident public health decisions depend on limiting method variation and error – the checklist can help</vt:lpstr>
      <vt:lpstr>WW/COVID Checklist covers several steps in the testing process </vt:lpstr>
      <vt:lpstr>Checklist includes six parameters to consider for each step in the method</vt:lpstr>
      <vt:lpstr>The quality checklist under review by stakeholders and multiple other reviewers</vt:lpstr>
      <vt:lpstr>Promotion of WW/COVID checklist</vt:lpstr>
      <vt:lpstr>WW COVID Checklist development stakeholders</vt:lpstr>
      <vt:lpstr>Questions / Discussion  Contact Information:  Patsy-Root@idexx.com 207-523-0835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oadhurst, Jessica</dc:creator>
  <cp:lastModifiedBy>Root, Patsy</cp:lastModifiedBy>
  <cp:revision>88</cp:revision>
  <dcterms:created xsi:type="dcterms:W3CDTF">2018-09-27T16:56:29Z</dcterms:created>
  <dcterms:modified xsi:type="dcterms:W3CDTF">2021-06-23T13:3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Name">
    <vt:lpwstr>IDECAG</vt:lpwstr>
  </property>
  <property fmtid="{D5CDD505-2E9C-101B-9397-08002B2CF9AE}" pid="3" name="Version">
    <vt:lpwstr>CAG_v1.4</vt:lpwstr>
  </property>
  <property fmtid="{D5CDD505-2E9C-101B-9397-08002B2CF9AE}" pid="4" name="ContentTypeId">
    <vt:lpwstr>0x01010051BC406A5A9E3A4AB3E2F283CDE17502</vt:lpwstr>
  </property>
</Properties>
</file>